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1"/>
  </p:sldMasterIdLst>
  <p:notesMasterIdLst>
    <p:notesMasterId r:id="rId26"/>
  </p:notesMasterIdLst>
  <p:handoutMasterIdLst>
    <p:handoutMasterId r:id="rId27"/>
  </p:handoutMasterIdLst>
  <p:sldIdLst>
    <p:sldId id="304" r:id="rId2"/>
    <p:sldId id="339" r:id="rId3"/>
    <p:sldId id="348" r:id="rId4"/>
    <p:sldId id="349" r:id="rId5"/>
    <p:sldId id="350" r:id="rId6"/>
    <p:sldId id="343" r:id="rId7"/>
    <p:sldId id="344" r:id="rId8"/>
    <p:sldId id="345" r:id="rId9"/>
    <p:sldId id="346" r:id="rId10"/>
    <p:sldId id="338" r:id="rId11"/>
    <p:sldId id="329" r:id="rId12"/>
    <p:sldId id="330" r:id="rId13"/>
    <p:sldId id="331" r:id="rId14"/>
    <p:sldId id="332" r:id="rId15"/>
    <p:sldId id="333" r:id="rId16"/>
    <p:sldId id="334" r:id="rId17"/>
    <p:sldId id="340" r:id="rId18"/>
    <p:sldId id="341" r:id="rId19"/>
    <p:sldId id="342" r:id="rId20"/>
    <p:sldId id="351" r:id="rId21"/>
    <p:sldId id="352" r:id="rId22"/>
    <p:sldId id="353" r:id="rId23"/>
    <p:sldId id="335" r:id="rId24"/>
    <p:sldId id="347" r:id="rId25"/>
  </p:sldIdLst>
  <p:sldSz cx="9144000" cy="9144000"/>
  <p:notesSz cx="6858000" cy="9144000"/>
  <p:embeddedFontLs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Montserrat" pitchFamily="2" charset="77"/>
      <p:regular r:id="rId32"/>
      <p:bold r:id="rId33"/>
      <p:italic r:id="rId34"/>
      <p:boldItalic r:id="rId35"/>
    </p:embeddedFont>
    <p:embeddedFont>
      <p:font typeface="Montserrat SemiBold" pitchFamily="2" charset="77"/>
      <p:regular r:id="rId36"/>
      <p:bold r:id="rId37"/>
    </p:embeddedFont>
  </p:embeddedFont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nt, Matthew" initials="GM" lastIdx="2" clrIdx="0">
    <p:extLst>
      <p:ext uri="{19B8F6BF-5375-455C-9EA6-DF929625EA0E}">
        <p15:presenceInfo xmlns:p15="http://schemas.microsoft.com/office/powerpoint/2012/main" userId="S::matthew.grant@cotiviti.com::bbfeee37-2893-4885-a997-b08c5d1bd09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9CFF"/>
    <a:srgbClr val="3A0092"/>
    <a:srgbClr val="E6E7E8"/>
    <a:srgbClr val="CACAC8"/>
    <a:srgbClr val="100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247" autoAdjust="0"/>
    <p:restoredTop sz="94663"/>
  </p:normalViewPr>
  <p:slideViewPr>
    <p:cSldViewPr snapToGrid="0" snapToObjects="1" showGuides="1">
      <p:cViewPr varScale="1">
        <p:scale>
          <a:sx n="93" d="100"/>
          <a:sy n="93" d="100"/>
        </p:scale>
        <p:origin x="792" y="208"/>
      </p:cViewPr>
      <p:guideLst>
        <p:guide pos="2880"/>
        <p:guide orient="horz"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font" Target="fonts/font7.fntdata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2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6.fntdata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800" b="0" dirty="0">
                <a:solidFill>
                  <a:srgbClr val="595959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43929795937669902"/>
          <c:y val="2.12483399734396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9B-40B7-B0C0-64870D451D1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89B-40B7-B0C0-64870D451D1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9B-40B7-B0C0-64870D451D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77195344"/>
        <c:axId val="377192688"/>
      </c:barChart>
      <c:catAx>
        <c:axId val="377195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7192688"/>
        <c:crosses val="autoZero"/>
        <c:auto val="1"/>
        <c:lblAlgn val="ctr"/>
        <c:lblOffset val="100"/>
        <c:noMultiLvlLbl val="0"/>
      </c:catAx>
      <c:valAx>
        <c:axId val="377192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7195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4872762823402"/>
          <c:y val="0.94463227531266303"/>
          <c:w val="0.26650241539144898"/>
          <c:h val="5.53677246873370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Pie</a:t>
            </a:r>
            <a:r>
              <a:rPr lang="en-US" sz="1800" baseline="0" dirty="0"/>
              <a:t> chart</a:t>
            </a:r>
            <a:endParaRPr lang="en-US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40-40AA-A65A-FB420481DE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40-40AA-A65A-FB420481DE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40-40AA-A65A-FB420481DE7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40-40AA-A65A-FB420481DE7F}"/>
              </c:ext>
            </c:extLst>
          </c:dPt>
          <c:cat>
            <c:strRef>
              <c:f>Sheet1!$A$2:$A$5</c:f>
              <c:strCache>
                <c:ptCount val="4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  <c:pt idx="3">
                  <c:v>ite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840-40AA-A65A-FB420481DE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093196209679701E-3"/>
          <c:y val="7.0753416779077899E-2"/>
          <c:w val="0.99379006798099301"/>
          <c:h val="0.708499335989375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68B-44C2-A9F7-D3CF8AA3F4A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68B-44C2-A9F7-D3CF8AA3F4A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68B-44C2-A9F7-D3CF8AA3F4A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68B-44C2-A9F7-D3CF8AA3F4A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683-4AC6-9481-F6FC96B601DE}"/>
              </c:ext>
            </c:extLst>
          </c:dPt>
          <c:cat>
            <c:strRef>
              <c:f>Sheet1!$A$2:$A$6</c:f>
              <c:strCache>
                <c:ptCount val="5"/>
                <c:pt idx="0">
                  <c:v>item 1</c:v>
                </c:pt>
                <c:pt idx="1">
                  <c:v>item 2</c:v>
                </c:pt>
                <c:pt idx="2">
                  <c:v>item 3</c:v>
                </c:pt>
                <c:pt idx="3">
                  <c:v>item 4</c:v>
                </c:pt>
                <c:pt idx="4">
                  <c:v>item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8B-44C2-A9F7-D3CF8AA3F4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719421526492503"/>
          <c:w val="0.99687914696879398"/>
          <c:h val="5.64047223180767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b="0" dirty="0">
                <a:solidFill>
                  <a:srgbClr val="595959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44171064765552998"/>
          <c:y val="1.559565452007689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183-4009-9A5E-024231B171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83-4009-9A5E-024231B171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83-4009-9A5E-024231B17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8140448"/>
        <c:axId val="448142768"/>
      </c:lineChart>
      <c:catAx>
        <c:axId val="448140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8142768"/>
        <c:crosses val="autoZero"/>
        <c:auto val="1"/>
        <c:lblAlgn val="ctr"/>
        <c:lblOffset val="100"/>
        <c:noMultiLvlLbl val="0"/>
      </c:catAx>
      <c:valAx>
        <c:axId val="448142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8140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5/21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5/21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85950" y="1143000"/>
            <a:ext cx="30861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16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85950" y="1143000"/>
            <a:ext cx="30861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894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8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48B406-4B66-455A-B810-8115BA7BC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4154934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737D1AB-AF46-4CA8-AB3B-2D6F47FE97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4044" y="3060970"/>
            <a:ext cx="5304175" cy="1671503"/>
          </a:xfrm>
          <a:noFill/>
        </p:spPr>
        <p:txBody>
          <a:bodyPr anchor="b">
            <a:noAutofit/>
          </a:bodyPr>
          <a:lstStyle>
            <a:lvl1pPr algn="l"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Title Block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044" y="5032414"/>
            <a:ext cx="5304175" cy="677637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0BD151-CA4C-C144-964C-BA07C87C7A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6" t="24742" r="7614" b="25086"/>
          <a:stretch/>
        </p:blipFill>
        <p:spPr>
          <a:xfrm>
            <a:off x="344043" y="881974"/>
            <a:ext cx="2859602" cy="8992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B3F8D5-CAAE-6A47-8861-17C3550465E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3527" y="43233"/>
            <a:ext cx="1234935" cy="9035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C17F9A-13F6-7E4F-B750-A83983AD3A32}"/>
              </a:ext>
            </a:extLst>
          </p:cNvPr>
          <p:cNvSpPr/>
          <p:nvPr userDrawn="1"/>
        </p:nvSpPr>
        <p:spPr>
          <a:xfrm flipH="1">
            <a:off x="0" y="-62007"/>
            <a:ext cx="9144000" cy="87033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185ABA8-CFF8-8E45-B13B-27138A6EC89C}"/>
              </a:ext>
            </a:extLst>
          </p:cNvPr>
          <p:cNvSpPr/>
          <p:nvPr userDrawn="1"/>
        </p:nvSpPr>
        <p:spPr>
          <a:xfrm>
            <a:off x="5870310" y="1855454"/>
            <a:ext cx="3765262" cy="502032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3EE316-850F-D945-ADE8-EF10B19F71AA}"/>
              </a:ext>
            </a:extLst>
          </p:cNvPr>
          <p:cNvSpPr/>
          <p:nvPr userDrawn="1"/>
        </p:nvSpPr>
        <p:spPr>
          <a:xfrm>
            <a:off x="336550" y="3511748"/>
            <a:ext cx="47910" cy="17582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E361E0-E5A5-4768-950B-A9901CB8E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615728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E361E0-E5A5-4768-950B-A9901CB8E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6B68A84-1147-4999-984F-3DF6D094FF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4482" y="2902575"/>
            <a:ext cx="5205829" cy="1687005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0DE398A-A4D4-9D46-BBB1-629C664C18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12"/>
          <a:stretch/>
        </p:blipFill>
        <p:spPr>
          <a:xfrm>
            <a:off x="6297656" y="2201278"/>
            <a:ext cx="2846345" cy="3917021"/>
          </a:xfrm>
          <a:prstGeom prst="rect">
            <a:avLst/>
          </a:prstGeom>
          <a:effectLst/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4482" y="4567091"/>
            <a:ext cx="5205829" cy="1405837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050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C17F9A-13F6-7E4F-B750-A83983AD3A32}"/>
              </a:ext>
            </a:extLst>
          </p:cNvPr>
          <p:cNvSpPr/>
          <p:nvPr userDrawn="1"/>
        </p:nvSpPr>
        <p:spPr>
          <a:xfrm flipH="1">
            <a:off x="0" y="-62007"/>
            <a:ext cx="9144000" cy="87033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33F78F3-D7CB-564F-892D-15D68ECC9CD7}"/>
              </a:ext>
            </a:extLst>
          </p:cNvPr>
          <p:cNvSpPr/>
          <p:nvPr userDrawn="1"/>
        </p:nvSpPr>
        <p:spPr>
          <a:xfrm>
            <a:off x="5870310" y="1855454"/>
            <a:ext cx="3765262" cy="502032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3EE316-850F-D945-ADE8-EF10B19F71AA}"/>
              </a:ext>
            </a:extLst>
          </p:cNvPr>
          <p:cNvSpPr/>
          <p:nvPr userDrawn="1"/>
        </p:nvSpPr>
        <p:spPr>
          <a:xfrm>
            <a:off x="336550" y="3511748"/>
            <a:ext cx="47910" cy="17582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E361E0-E5A5-4768-950B-A9901CB8E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551275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E361E0-E5A5-4768-950B-A9901CB8E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6B68A84-1147-4999-984F-3DF6D094FF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4482" y="2902575"/>
            <a:ext cx="5205829" cy="1687005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4482" y="4567091"/>
            <a:ext cx="5205829" cy="1405837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F27EB8F-0950-7244-B2AC-6AA3AB66505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5229" y="2377773"/>
            <a:ext cx="2634233" cy="3698256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271376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7141EA-7C97-4D14-802B-FE34264A6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183578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E9EC2A-F502-4BE5-B7C0-31991BE7B4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42900" y="1861963"/>
            <a:ext cx="8458200" cy="6373988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42900" y="486833"/>
            <a:ext cx="8458200" cy="1219200"/>
          </a:xfrm>
        </p:spPr>
        <p:txBody>
          <a:bodyPr anchor="ctr"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79776C-F4FC-4184-B091-6D5007B87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123168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CB682C-07AF-4F3B-8D74-8FFF238C8B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42901" y="1861963"/>
            <a:ext cx="4155621" cy="6373988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4645480" y="1861963"/>
            <a:ext cx="4155621" cy="6373988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26F32F-067E-4565-A390-2302EDFBE7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841476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E23948-7695-490B-BA33-BA00CDC8EC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42901" y="1861963"/>
            <a:ext cx="2726871" cy="6373988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208565" y="1861963"/>
            <a:ext cx="2726871" cy="6373988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4230" y="1861963"/>
            <a:ext cx="2726871" cy="6373988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5C3B62-503C-4195-A9A9-923086A39E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025443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ECA3D2-574B-4164-9130-871B74C0E3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42900" y="1861964"/>
            <a:ext cx="4152900" cy="3003952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48200" y="1861964"/>
            <a:ext cx="4152900" cy="3003952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42900" y="5149449"/>
            <a:ext cx="4152900" cy="3003952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48200" y="5149449"/>
            <a:ext cx="4152900" cy="3003952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2354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318E7-57B1-4A0E-8E32-8C5B0D59B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987093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1F0AB5F-3FE4-40D7-B6BE-7BEE0CAA8B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671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Closing P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9144000" cy="9144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extBox 1"/>
          <p:cNvSpPr txBox="1"/>
          <p:nvPr userDrawn="1"/>
        </p:nvSpPr>
        <p:spPr>
          <a:xfrm>
            <a:off x="2140292" y="3673543"/>
            <a:ext cx="4860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spc="600" dirty="0">
                <a:solidFill>
                  <a:schemeClr val="accent1"/>
                </a:solidFill>
              </a:rPr>
              <a:t>THANK Y</a:t>
            </a:r>
            <a:r>
              <a:rPr lang="en-US" sz="3600" b="1" spc="600" dirty="0">
                <a:solidFill>
                  <a:schemeClr val="accent2"/>
                </a:solidFill>
              </a:rPr>
              <a:t>O</a:t>
            </a:r>
            <a:r>
              <a:rPr lang="en-US" sz="3600" b="1" spc="600" dirty="0">
                <a:solidFill>
                  <a:schemeClr val="accent1"/>
                </a:solidFill>
              </a:rPr>
              <a:t>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19C623-787A-B949-A7A0-557749088B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6" t="24742" r="7614" b="25086"/>
          <a:stretch/>
        </p:blipFill>
        <p:spPr>
          <a:xfrm>
            <a:off x="3381839" y="6249824"/>
            <a:ext cx="2370450" cy="7454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6" y="8426410"/>
            <a:ext cx="9144000" cy="717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5201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62D5F33-8E55-4E67-864B-85DE35EDA831}"/>
              </a:ext>
            </a:extLst>
          </p:cNvPr>
          <p:cNvGrpSpPr/>
          <p:nvPr userDrawn="1"/>
        </p:nvGrpSpPr>
        <p:grpSpPr>
          <a:xfrm>
            <a:off x="244514" y="1956997"/>
            <a:ext cx="1575487" cy="2008984"/>
            <a:chOff x="244513" y="1467748"/>
            <a:chExt cx="1575487" cy="150673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5D18FC9-3017-4EAD-8731-704C9E2F019E}"/>
                </a:ext>
              </a:extLst>
            </p:cNvPr>
            <p:cNvSpPr/>
            <p:nvPr userDrawn="1"/>
          </p:nvSpPr>
          <p:spPr>
            <a:xfrm>
              <a:off x="2445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38548DB-BBE5-4F52-B91F-8387BB796779}"/>
                </a:ext>
              </a:extLst>
            </p:cNvPr>
            <p:cNvSpPr/>
            <p:nvPr userDrawn="1"/>
          </p:nvSpPr>
          <p:spPr>
            <a:xfrm>
              <a:off x="244513" y="1467748"/>
              <a:ext cx="271337" cy="15067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E9F204E-01CE-4487-BFCF-CA4CE1AA222F}"/>
                </a:ext>
              </a:extLst>
            </p:cNvPr>
            <p:cNvSpPr/>
            <p:nvPr userDrawn="1"/>
          </p:nvSpPr>
          <p:spPr>
            <a:xfrm>
              <a:off x="5471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R:  </a:t>
              </a:r>
              <a:r>
                <a:rPr lang="en-US" sz="2000" dirty="0">
                  <a:solidFill>
                    <a:schemeClr val="accent1"/>
                  </a:solidFill>
                </a:rPr>
                <a:t>49</a:t>
              </a:r>
              <a:endParaRPr lang="en-US" sz="2000" b="1" dirty="0">
                <a:solidFill>
                  <a:schemeClr val="accent1"/>
                </a:solidFill>
              </a:endParaRPr>
            </a:p>
            <a:p>
              <a:r>
                <a:rPr lang="en-US" sz="2000" b="1" dirty="0">
                  <a:solidFill>
                    <a:schemeClr val="accent1"/>
                  </a:solidFill>
                </a:rPr>
                <a:t>G: </a:t>
              </a:r>
              <a:r>
                <a:rPr lang="en-US" sz="2000" dirty="0">
                  <a:solidFill>
                    <a:schemeClr val="accent1"/>
                  </a:solidFill>
                </a:rPr>
                <a:t>   0</a:t>
              </a:r>
            </a:p>
            <a:p>
              <a:r>
                <a:rPr lang="en-US" sz="2000" b="1" dirty="0">
                  <a:solidFill>
                    <a:schemeClr val="accent1"/>
                  </a:solidFill>
                </a:rPr>
                <a:t>B:  </a:t>
              </a:r>
              <a:r>
                <a:rPr lang="en-US" sz="2000" dirty="0">
                  <a:solidFill>
                    <a:schemeClr val="accent1"/>
                  </a:solidFill>
                </a:rPr>
                <a:t>111</a:t>
              </a:r>
              <a:endParaRPr lang="en-GB" sz="20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C95C482-9686-4DDD-8120-0B0A20393784}"/>
              </a:ext>
            </a:extLst>
          </p:cNvPr>
          <p:cNvGrpSpPr/>
          <p:nvPr userDrawn="1"/>
        </p:nvGrpSpPr>
        <p:grpSpPr>
          <a:xfrm>
            <a:off x="1894529" y="1972263"/>
            <a:ext cx="1575487" cy="2008984"/>
            <a:chOff x="2187613" y="1467748"/>
            <a:chExt cx="1575487" cy="150673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5C5C09D-D941-419D-A91E-ADAC130198EA}"/>
                </a:ext>
              </a:extLst>
            </p:cNvPr>
            <p:cNvSpPr/>
            <p:nvPr userDrawn="1"/>
          </p:nvSpPr>
          <p:spPr>
            <a:xfrm>
              <a:off x="21876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1C8FDE5-82C8-4552-8F4D-C13E5B2C77E3}"/>
                </a:ext>
              </a:extLst>
            </p:cNvPr>
            <p:cNvSpPr/>
            <p:nvPr userDrawn="1"/>
          </p:nvSpPr>
          <p:spPr>
            <a:xfrm>
              <a:off x="2187613" y="1467748"/>
              <a:ext cx="271337" cy="15067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1312F0D-31E4-4629-8EB5-51F55A9AD4D2}"/>
                </a:ext>
              </a:extLst>
            </p:cNvPr>
            <p:cNvSpPr/>
            <p:nvPr userDrawn="1"/>
          </p:nvSpPr>
          <p:spPr>
            <a:xfrm>
              <a:off x="24902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R: </a:t>
              </a:r>
              <a:r>
                <a:rPr lang="en-US" sz="2000" dirty="0">
                  <a:solidFill>
                    <a:schemeClr val="accent2"/>
                  </a:solidFill>
                </a:rPr>
                <a:t>149</a:t>
              </a:r>
              <a:endParaRPr lang="en-US" sz="2000" b="1" dirty="0">
                <a:solidFill>
                  <a:schemeClr val="accent2"/>
                </a:solidFill>
              </a:endParaRPr>
            </a:p>
            <a:p>
              <a:r>
                <a:rPr lang="en-US" sz="2000" b="1" dirty="0">
                  <a:solidFill>
                    <a:schemeClr val="accent2"/>
                  </a:solidFill>
                </a:rPr>
                <a:t>G: </a:t>
              </a:r>
              <a:r>
                <a:rPr lang="en-US" sz="2000" dirty="0">
                  <a:solidFill>
                    <a:schemeClr val="accent2"/>
                  </a:solidFill>
                </a:rPr>
                <a:t>121</a:t>
              </a:r>
            </a:p>
            <a:p>
              <a:r>
                <a:rPr lang="en-US" sz="2000" b="1" dirty="0">
                  <a:solidFill>
                    <a:schemeClr val="accent2"/>
                  </a:solidFill>
                </a:rPr>
                <a:t>B: </a:t>
              </a:r>
              <a:r>
                <a:rPr lang="en-US" sz="2000" dirty="0">
                  <a:solidFill>
                    <a:schemeClr val="accent2"/>
                  </a:solidFill>
                </a:rPr>
                <a:t>211</a:t>
              </a:r>
              <a:endParaRPr lang="en-GB" sz="200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5C7B47D-28CB-4775-A010-1CA8BC62945B}"/>
              </a:ext>
            </a:extLst>
          </p:cNvPr>
          <p:cNvGrpSpPr/>
          <p:nvPr userDrawn="1"/>
        </p:nvGrpSpPr>
        <p:grpSpPr>
          <a:xfrm>
            <a:off x="3557377" y="1956997"/>
            <a:ext cx="1580992" cy="2008984"/>
            <a:chOff x="4130713" y="1467748"/>
            <a:chExt cx="1580992" cy="150673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AB75A3B-8168-446D-B3D9-3227AF0D0758}"/>
                </a:ext>
              </a:extLst>
            </p:cNvPr>
            <p:cNvSpPr/>
            <p:nvPr userDrawn="1"/>
          </p:nvSpPr>
          <p:spPr>
            <a:xfrm>
              <a:off x="41307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720EB44-DAE2-46B6-9B4C-331C8AF65449}"/>
                </a:ext>
              </a:extLst>
            </p:cNvPr>
            <p:cNvSpPr/>
            <p:nvPr userDrawn="1"/>
          </p:nvSpPr>
          <p:spPr>
            <a:xfrm>
              <a:off x="4130713" y="1467748"/>
              <a:ext cx="271337" cy="15067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4EB5562-6414-468F-8713-EF5D6244423B}"/>
                </a:ext>
              </a:extLst>
            </p:cNvPr>
            <p:cNvSpPr/>
            <p:nvPr userDrawn="1"/>
          </p:nvSpPr>
          <p:spPr>
            <a:xfrm>
              <a:off x="4438812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3"/>
                  </a:solidFill>
                </a:rPr>
                <a:t>R: </a:t>
              </a:r>
              <a:r>
                <a:rPr lang="en-US" sz="2000" dirty="0">
                  <a:solidFill>
                    <a:schemeClr val="accent3"/>
                  </a:solidFill>
                </a:rPr>
                <a:t>236</a:t>
              </a:r>
              <a:endParaRPr lang="en-US" sz="2000" b="1" dirty="0">
                <a:solidFill>
                  <a:schemeClr val="accent3"/>
                </a:solidFill>
              </a:endParaRPr>
            </a:p>
            <a:p>
              <a:r>
                <a:rPr lang="en-US" sz="2000" b="1" dirty="0">
                  <a:solidFill>
                    <a:schemeClr val="accent3"/>
                  </a:solidFill>
                </a:rPr>
                <a:t>G:     </a:t>
              </a:r>
              <a:r>
                <a:rPr lang="en-US" sz="2000" dirty="0">
                  <a:solidFill>
                    <a:schemeClr val="accent3"/>
                  </a:solidFill>
                </a:rPr>
                <a:t>0</a:t>
              </a:r>
            </a:p>
            <a:p>
              <a:r>
                <a:rPr lang="en-US" sz="2000" b="1" dirty="0">
                  <a:solidFill>
                    <a:schemeClr val="accent3"/>
                  </a:solidFill>
                </a:rPr>
                <a:t>B: </a:t>
              </a:r>
              <a:r>
                <a:rPr lang="en-US" sz="2000" dirty="0">
                  <a:solidFill>
                    <a:schemeClr val="accent3"/>
                  </a:solidFill>
                </a:rPr>
                <a:t>140</a:t>
              </a:r>
              <a:endParaRPr lang="en-GB" sz="20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FCC836D-901E-46C1-8922-E3AA42931534}"/>
              </a:ext>
            </a:extLst>
          </p:cNvPr>
          <p:cNvGrpSpPr/>
          <p:nvPr userDrawn="1"/>
        </p:nvGrpSpPr>
        <p:grpSpPr>
          <a:xfrm>
            <a:off x="5260189" y="1966201"/>
            <a:ext cx="1575487" cy="2008984"/>
            <a:chOff x="6073813" y="1467748"/>
            <a:chExt cx="1575487" cy="150673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900436-BBE9-4100-8C65-C4160399AA4A}"/>
                </a:ext>
              </a:extLst>
            </p:cNvPr>
            <p:cNvSpPr/>
            <p:nvPr userDrawn="1"/>
          </p:nvSpPr>
          <p:spPr>
            <a:xfrm>
              <a:off x="60738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71BC10E-7128-42C7-B613-D9A6FB209852}"/>
                </a:ext>
              </a:extLst>
            </p:cNvPr>
            <p:cNvSpPr/>
            <p:nvPr userDrawn="1"/>
          </p:nvSpPr>
          <p:spPr>
            <a:xfrm>
              <a:off x="6073813" y="1467748"/>
              <a:ext cx="271337" cy="15067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40811DF-3E12-4123-AE30-2090B83E425C}"/>
                </a:ext>
              </a:extLst>
            </p:cNvPr>
            <p:cNvSpPr/>
            <p:nvPr userDrawn="1"/>
          </p:nvSpPr>
          <p:spPr>
            <a:xfrm>
              <a:off x="63764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4"/>
                  </a:solidFill>
                </a:rPr>
                <a:t>R: </a:t>
              </a:r>
              <a:r>
                <a:rPr lang="en-US" sz="2000" dirty="0">
                  <a:solidFill>
                    <a:schemeClr val="accent4"/>
                  </a:solidFill>
                </a:rPr>
                <a:t>124</a:t>
              </a:r>
              <a:endParaRPr lang="en-US" sz="2000" b="1" dirty="0">
                <a:solidFill>
                  <a:schemeClr val="accent4"/>
                </a:solidFill>
              </a:endParaRPr>
            </a:p>
            <a:p>
              <a:r>
                <a:rPr lang="en-US" sz="2000" b="1" dirty="0">
                  <a:solidFill>
                    <a:schemeClr val="accent4"/>
                  </a:solidFill>
                </a:rPr>
                <a:t>G: </a:t>
              </a:r>
              <a:r>
                <a:rPr lang="en-US" sz="2000" dirty="0">
                  <a:solidFill>
                    <a:schemeClr val="accent4"/>
                  </a:solidFill>
                </a:rPr>
                <a:t>119</a:t>
              </a:r>
            </a:p>
            <a:p>
              <a:r>
                <a:rPr lang="en-US" sz="2000" b="1" dirty="0">
                  <a:solidFill>
                    <a:schemeClr val="accent4"/>
                  </a:solidFill>
                </a:rPr>
                <a:t>B: </a:t>
              </a:r>
              <a:r>
                <a:rPr lang="en-US" sz="2000" dirty="0">
                  <a:solidFill>
                    <a:schemeClr val="accent4"/>
                  </a:solidFill>
                </a:rPr>
                <a:t>173</a:t>
              </a:r>
              <a:endParaRPr lang="en-GB" sz="2000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B364A34-E7DF-4E2C-B3E7-7CBF4B1C6FEA}"/>
              </a:ext>
            </a:extLst>
          </p:cNvPr>
          <p:cNvGrpSpPr/>
          <p:nvPr userDrawn="1"/>
        </p:nvGrpSpPr>
        <p:grpSpPr>
          <a:xfrm>
            <a:off x="244514" y="4547797"/>
            <a:ext cx="1575487" cy="2008984"/>
            <a:chOff x="244513" y="3410848"/>
            <a:chExt cx="1575487" cy="150673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2CE0C25-7F6D-4D04-B0A3-DA1C3C48CC3A}"/>
                </a:ext>
              </a:extLst>
            </p:cNvPr>
            <p:cNvSpPr/>
            <p:nvPr userDrawn="1"/>
          </p:nvSpPr>
          <p:spPr>
            <a:xfrm>
              <a:off x="2445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DB1D994-6A86-4808-8C35-0C73CF3A215B}"/>
                </a:ext>
              </a:extLst>
            </p:cNvPr>
            <p:cNvSpPr/>
            <p:nvPr userDrawn="1"/>
          </p:nvSpPr>
          <p:spPr>
            <a:xfrm>
              <a:off x="244513" y="3410848"/>
              <a:ext cx="271337" cy="15067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E0EFD7E-A615-49DD-9D55-C75669C3F68A}"/>
                </a:ext>
              </a:extLst>
            </p:cNvPr>
            <p:cNvSpPr/>
            <p:nvPr userDrawn="1"/>
          </p:nvSpPr>
          <p:spPr>
            <a:xfrm>
              <a:off x="5471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5"/>
                  </a:solidFill>
                </a:rPr>
                <a:t>R: </a:t>
              </a:r>
              <a:r>
                <a:rPr lang="en-US" sz="2000" dirty="0">
                  <a:solidFill>
                    <a:schemeClr val="accent5"/>
                  </a:solidFill>
                </a:rPr>
                <a:t>    0</a:t>
              </a:r>
              <a:endParaRPr lang="en-US" sz="2000" b="1" dirty="0">
                <a:solidFill>
                  <a:schemeClr val="accent5"/>
                </a:solidFill>
              </a:endParaRPr>
            </a:p>
            <a:p>
              <a:r>
                <a:rPr lang="en-US" sz="2000" b="1" dirty="0">
                  <a:solidFill>
                    <a:schemeClr val="accent5"/>
                  </a:solidFill>
                </a:rPr>
                <a:t>G: </a:t>
              </a:r>
              <a:r>
                <a:rPr lang="en-US" sz="2000" dirty="0">
                  <a:solidFill>
                    <a:schemeClr val="accent5"/>
                  </a:solidFill>
                </a:rPr>
                <a:t>174</a:t>
              </a:r>
            </a:p>
            <a:p>
              <a:r>
                <a:rPr lang="en-US" sz="2000" b="1" dirty="0">
                  <a:solidFill>
                    <a:schemeClr val="accent5"/>
                  </a:solidFill>
                </a:rPr>
                <a:t>B: </a:t>
              </a:r>
              <a:r>
                <a:rPr lang="en-US" sz="2000" dirty="0">
                  <a:solidFill>
                    <a:schemeClr val="accent5"/>
                  </a:solidFill>
                </a:rPr>
                <a:t>239</a:t>
              </a:r>
              <a:endParaRPr lang="en-GB" sz="2000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D4B1E85-4AF7-40EA-951A-76F9659E0CA0}"/>
              </a:ext>
            </a:extLst>
          </p:cNvPr>
          <p:cNvGrpSpPr/>
          <p:nvPr userDrawn="1"/>
        </p:nvGrpSpPr>
        <p:grpSpPr>
          <a:xfrm>
            <a:off x="1905400" y="4547797"/>
            <a:ext cx="1575487" cy="2008984"/>
            <a:chOff x="2187613" y="3410848"/>
            <a:chExt cx="1575487" cy="150673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4283736-C90E-4A80-A748-AD0BD4AE1333}"/>
                </a:ext>
              </a:extLst>
            </p:cNvPr>
            <p:cNvSpPr/>
            <p:nvPr userDrawn="1"/>
          </p:nvSpPr>
          <p:spPr>
            <a:xfrm>
              <a:off x="21876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2169A08-2D4A-47ED-945C-EC3D1A60CF04}"/>
                </a:ext>
              </a:extLst>
            </p:cNvPr>
            <p:cNvSpPr/>
            <p:nvPr userDrawn="1"/>
          </p:nvSpPr>
          <p:spPr>
            <a:xfrm>
              <a:off x="2187613" y="3410848"/>
              <a:ext cx="271337" cy="15067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4037EF2-B139-48D9-B441-9B25CA3FB3E6}"/>
                </a:ext>
              </a:extLst>
            </p:cNvPr>
            <p:cNvSpPr/>
            <p:nvPr userDrawn="1"/>
          </p:nvSpPr>
          <p:spPr>
            <a:xfrm>
              <a:off x="24902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accent6"/>
                  </a:solidFill>
                </a:rPr>
                <a:t>R:    </a:t>
              </a:r>
              <a:r>
                <a:rPr lang="en-US" sz="2000" dirty="0">
                  <a:solidFill>
                    <a:schemeClr val="accent6"/>
                  </a:solidFill>
                </a:rPr>
                <a:t>19</a:t>
              </a:r>
              <a:endParaRPr lang="en-US" sz="2000" b="1" dirty="0">
                <a:solidFill>
                  <a:schemeClr val="accent6"/>
                </a:solidFill>
              </a:endParaRPr>
            </a:p>
            <a:p>
              <a:r>
                <a:rPr lang="en-US" sz="2000" b="1" dirty="0">
                  <a:solidFill>
                    <a:schemeClr val="accent6"/>
                  </a:solidFill>
                </a:rPr>
                <a:t>G: </a:t>
              </a:r>
              <a:r>
                <a:rPr lang="en-US" sz="2000" dirty="0">
                  <a:solidFill>
                    <a:schemeClr val="accent6"/>
                  </a:solidFill>
                </a:rPr>
                <a:t>208</a:t>
              </a:r>
            </a:p>
            <a:p>
              <a:r>
                <a:rPr lang="en-US" sz="2000" b="1" dirty="0">
                  <a:solidFill>
                    <a:schemeClr val="accent6"/>
                  </a:solidFill>
                </a:rPr>
                <a:t>B: </a:t>
              </a:r>
              <a:r>
                <a:rPr lang="en-US" sz="2000" dirty="0">
                  <a:solidFill>
                    <a:schemeClr val="accent6"/>
                  </a:solidFill>
                </a:rPr>
                <a:t>202</a:t>
              </a:r>
              <a:endParaRPr lang="en-GB" sz="2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BE045DA-69C1-4F1D-AAB4-667BE2996D98}"/>
              </a:ext>
            </a:extLst>
          </p:cNvPr>
          <p:cNvGrpSpPr/>
          <p:nvPr userDrawn="1"/>
        </p:nvGrpSpPr>
        <p:grpSpPr>
          <a:xfrm>
            <a:off x="3560559" y="4555480"/>
            <a:ext cx="1576056" cy="2008984"/>
            <a:chOff x="4130713" y="3410848"/>
            <a:chExt cx="1576056" cy="150673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C8A954D-A373-4954-99A3-4C04D9CE75BC}"/>
                </a:ext>
              </a:extLst>
            </p:cNvPr>
            <p:cNvSpPr/>
            <p:nvPr userDrawn="1"/>
          </p:nvSpPr>
          <p:spPr>
            <a:xfrm>
              <a:off x="41307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BD74FD-7999-4F70-A014-85D70D70E1B7}"/>
                </a:ext>
              </a:extLst>
            </p:cNvPr>
            <p:cNvSpPr/>
            <p:nvPr userDrawn="1"/>
          </p:nvSpPr>
          <p:spPr>
            <a:xfrm>
              <a:off x="4130713" y="3410848"/>
              <a:ext cx="271337" cy="15067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D1A9B7E-FC61-46F0-B39E-5DA90C2686C8}"/>
                </a:ext>
              </a:extLst>
            </p:cNvPr>
            <p:cNvSpPr/>
            <p:nvPr userDrawn="1"/>
          </p:nvSpPr>
          <p:spPr>
            <a:xfrm>
              <a:off x="4438812" y="3645326"/>
              <a:ext cx="1267957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bg2"/>
                  </a:solidFill>
                </a:rPr>
                <a:t>R: </a:t>
              </a:r>
              <a:r>
                <a:rPr lang="en-US" sz="2000" dirty="0">
                  <a:solidFill>
                    <a:schemeClr val="bg2"/>
                  </a:solidFill>
                </a:rPr>
                <a:t>163</a:t>
              </a:r>
              <a:endParaRPr lang="en-US" sz="2000" b="1" dirty="0">
                <a:solidFill>
                  <a:schemeClr val="bg2"/>
                </a:solidFill>
              </a:endParaRPr>
            </a:p>
            <a:p>
              <a:r>
                <a:rPr lang="en-US" sz="2000" b="1" dirty="0">
                  <a:solidFill>
                    <a:schemeClr val="bg2"/>
                  </a:solidFill>
                </a:rPr>
                <a:t>G: </a:t>
              </a:r>
              <a:r>
                <a:rPr lang="en-US" sz="2000" dirty="0">
                  <a:solidFill>
                    <a:schemeClr val="bg2"/>
                  </a:solidFill>
                </a:rPr>
                <a:t>213</a:t>
              </a:r>
            </a:p>
            <a:p>
              <a:r>
                <a:rPr lang="en-US" sz="2000" b="1" dirty="0">
                  <a:solidFill>
                    <a:schemeClr val="bg2"/>
                  </a:solidFill>
                </a:rPr>
                <a:t>B:</a:t>
              </a:r>
              <a:r>
                <a:rPr lang="en-US" sz="2000" dirty="0">
                  <a:solidFill>
                    <a:schemeClr val="bg2"/>
                  </a:solidFill>
                </a:rPr>
                <a:t>  95</a:t>
              </a:r>
              <a:endParaRPr lang="en-GB" sz="20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51385E7-8A69-4CE4-8DBC-BA21DC77C112}"/>
              </a:ext>
            </a:extLst>
          </p:cNvPr>
          <p:cNvGrpSpPr/>
          <p:nvPr userDrawn="1"/>
        </p:nvGrpSpPr>
        <p:grpSpPr>
          <a:xfrm>
            <a:off x="5260189" y="4555480"/>
            <a:ext cx="1575487" cy="2008984"/>
            <a:chOff x="6073813" y="3410848"/>
            <a:chExt cx="1575487" cy="150673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88B7E98-308F-4282-8AF2-EA6049A60CF8}"/>
                </a:ext>
              </a:extLst>
            </p:cNvPr>
            <p:cNvSpPr/>
            <p:nvPr userDrawn="1"/>
          </p:nvSpPr>
          <p:spPr>
            <a:xfrm>
              <a:off x="60738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04F14CB-C91B-4B10-92F8-8145D519584E}"/>
                </a:ext>
              </a:extLst>
            </p:cNvPr>
            <p:cNvSpPr/>
            <p:nvPr userDrawn="1"/>
          </p:nvSpPr>
          <p:spPr>
            <a:xfrm>
              <a:off x="6073813" y="3410848"/>
              <a:ext cx="271337" cy="150673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CBE325-48B0-49F5-8C3D-25F5012DA5FB}"/>
                </a:ext>
              </a:extLst>
            </p:cNvPr>
            <p:cNvSpPr/>
            <p:nvPr userDrawn="1"/>
          </p:nvSpPr>
          <p:spPr>
            <a:xfrm>
              <a:off x="63764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chemeClr val="tx2"/>
                  </a:solidFill>
                </a:rPr>
                <a:t>R: </a:t>
              </a:r>
              <a:r>
                <a:rPr lang="en-US" sz="2000" dirty="0">
                  <a:solidFill>
                    <a:schemeClr val="tx2"/>
                  </a:solidFill>
                </a:rPr>
                <a:t>249</a:t>
              </a:r>
              <a:endParaRPr lang="en-US" sz="2000" b="1" dirty="0">
                <a:solidFill>
                  <a:schemeClr val="tx2"/>
                </a:solidFill>
              </a:endParaRPr>
            </a:p>
            <a:p>
              <a:r>
                <a:rPr lang="en-US" sz="2000" b="1" dirty="0">
                  <a:solidFill>
                    <a:schemeClr val="tx2"/>
                  </a:solidFill>
                </a:rPr>
                <a:t>G:  </a:t>
              </a:r>
              <a:r>
                <a:rPr lang="en-US" sz="2000" dirty="0">
                  <a:solidFill>
                    <a:schemeClr val="tx2"/>
                  </a:solidFill>
                </a:rPr>
                <a:t>142</a:t>
              </a:r>
            </a:p>
            <a:p>
              <a:r>
                <a:rPr lang="en-US" sz="2000" b="1" dirty="0">
                  <a:solidFill>
                    <a:schemeClr val="tx2"/>
                  </a:solidFill>
                </a:rPr>
                <a:t>B:   </a:t>
              </a:r>
              <a:r>
                <a:rPr lang="en-US" sz="2000" dirty="0">
                  <a:solidFill>
                    <a:schemeClr val="tx2"/>
                  </a:solidFill>
                </a:rPr>
                <a:t>43</a:t>
              </a:r>
              <a:endParaRPr lang="en-GB" sz="20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99F148C-251E-45BA-B747-5EC8594DEC70}"/>
              </a:ext>
            </a:extLst>
          </p:cNvPr>
          <p:cNvGrpSpPr/>
          <p:nvPr userDrawn="1"/>
        </p:nvGrpSpPr>
        <p:grpSpPr>
          <a:xfrm>
            <a:off x="7249473" y="1956997"/>
            <a:ext cx="1575487" cy="2008984"/>
            <a:chOff x="8453785" y="1467748"/>
            <a:chExt cx="1575487" cy="150673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5840032-D631-4820-BFFE-49F231486F02}"/>
                </a:ext>
              </a:extLst>
            </p:cNvPr>
            <p:cNvSpPr/>
            <p:nvPr userDrawn="1"/>
          </p:nvSpPr>
          <p:spPr>
            <a:xfrm>
              <a:off x="8453785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44F89AB-D6E9-4AF0-AA74-9A2CFC93A0E9}"/>
                </a:ext>
              </a:extLst>
            </p:cNvPr>
            <p:cNvSpPr/>
            <p:nvPr userDrawn="1"/>
          </p:nvSpPr>
          <p:spPr>
            <a:xfrm>
              <a:off x="8453785" y="1467748"/>
              <a:ext cx="271337" cy="1506738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2823754-4548-432D-83B0-B87C6F8AF514}"/>
                </a:ext>
              </a:extLst>
            </p:cNvPr>
            <p:cNvSpPr/>
            <p:nvPr userDrawn="1"/>
          </p:nvSpPr>
          <p:spPr>
            <a:xfrm>
              <a:off x="8756379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rgbClr val="00B050"/>
                  </a:solidFill>
                </a:rPr>
                <a:t>R: </a:t>
              </a:r>
              <a:r>
                <a:rPr lang="en-US" sz="2000" dirty="0">
                  <a:solidFill>
                    <a:srgbClr val="00B050"/>
                  </a:solidFill>
                </a:rPr>
                <a:t>    0</a:t>
              </a:r>
              <a:endParaRPr lang="en-US" sz="2000" b="1" dirty="0">
                <a:solidFill>
                  <a:srgbClr val="00B050"/>
                </a:solidFill>
              </a:endParaRPr>
            </a:p>
            <a:p>
              <a:r>
                <a:rPr lang="en-US" sz="2000" b="1" dirty="0">
                  <a:solidFill>
                    <a:srgbClr val="00B050"/>
                  </a:solidFill>
                </a:rPr>
                <a:t>G: </a:t>
              </a:r>
              <a:r>
                <a:rPr lang="en-US" sz="2000" dirty="0">
                  <a:solidFill>
                    <a:srgbClr val="00B050"/>
                  </a:solidFill>
                </a:rPr>
                <a:t>176</a:t>
              </a:r>
            </a:p>
            <a:p>
              <a:r>
                <a:rPr lang="en-US" sz="2000" b="1" dirty="0">
                  <a:solidFill>
                    <a:srgbClr val="00B050"/>
                  </a:solidFill>
                </a:rPr>
                <a:t>B: </a:t>
              </a:r>
              <a:r>
                <a:rPr lang="en-US" sz="2000" dirty="0">
                  <a:solidFill>
                    <a:srgbClr val="00B050"/>
                  </a:solidFill>
                </a:rPr>
                <a:t>  80</a:t>
              </a:r>
              <a:endParaRPr lang="en-GB" sz="2000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6AECB232-F38D-49F0-B48C-E33CB89D4EC5}"/>
              </a:ext>
            </a:extLst>
          </p:cNvPr>
          <p:cNvGrpSpPr/>
          <p:nvPr userDrawn="1"/>
        </p:nvGrpSpPr>
        <p:grpSpPr>
          <a:xfrm>
            <a:off x="7250258" y="4547797"/>
            <a:ext cx="1575487" cy="2008984"/>
            <a:chOff x="8453785" y="3410848"/>
            <a:chExt cx="1575487" cy="1506738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7AF2375-4F22-4A3A-A4D8-8548D4BBE7F2}"/>
                </a:ext>
              </a:extLst>
            </p:cNvPr>
            <p:cNvSpPr/>
            <p:nvPr userDrawn="1"/>
          </p:nvSpPr>
          <p:spPr>
            <a:xfrm>
              <a:off x="8453785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2BEC7CA-F7C6-4F8A-8BF7-219C36818B5C}"/>
                </a:ext>
              </a:extLst>
            </p:cNvPr>
            <p:cNvSpPr/>
            <p:nvPr userDrawn="1"/>
          </p:nvSpPr>
          <p:spPr>
            <a:xfrm>
              <a:off x="8453785" y="3410848"/>
              <a:ext cx="271337" cy="15067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61093BE-563E-437C-971E-60FE8D6D9E95}"/>
                </a:ext>
              </a:extLst>
            </p:cNvPr>
            <p:cNvSpPr/>
            <p:nvPr userDrawn="1"/>
          </p:nvSpPr>
          <p:spPr>
            <a:xfrm>
              <a:off x="8756379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R:  </a:t>
              </a:r>
              <a:r>
                <a:rPr lang="en-US" sz="2000" dirty="0">
                  <a:solidFill>
                    <a:srgbClr val="C00000"/>
                  </a:solidFill>
                </a:rPr>
                <a:t>192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r>
                <a:rPr lang="en-US" sz="2000" b="1" dirty="0">
                  <a:solidFill>
                    <a:srgbClr val="C00000"/>
                  </a:solidFill>
                </a:rPr>
                <a:t>G:     </a:t>
              </a:r>
              <a:r>
                <a:rPr lang="en-US" sz="2000" dirty="0">
                  <a:solidFill>
                    <a:srgbClr val="C00000"/>
                  </a:solidFill>
                </a:rPr>
                <a:t>0</a:t>
              </a:r>
            </a:p>
            <a:p>
              <a:r>
                <a:rPr lang="en-US" sz="2000" b="1" dirty="0">
                  <a:solidFill>
                    <a:srgbClr val="C00000"/>
                  </a:solidFill>
                </a:rPr>
                <a:t>B:     </a:t>
              </a:r>
              <a:r>
                <a:rPr lang="en-US" sz="2000" dirty="0">
                  <a:solidFill>
                    <a:srgbClr val="C00000"/>
                  </a:solidFill>
                </a:rPr>
                <a:t>0</a:t>
              </a:r>
              <a:endParaRPr lang="en-GB" sz="2000" dirty="0">
                <a:solidFill>
                  <a:srgbClr val="C00000"/>
                </a:solidFill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0431F7E1-A3E5-4608-ADED-B9381792F7C3}"/>
              </a:ext>
            </a:extLst>
          </p:cNvPr>
          <p:cNvSpPr/>
          <p:nvPr userDrawn="1"/>
        </p:nvSpPr>
        <p:spPr>
          <a:xfrm>
            <a:off x="244514" y="6996041"/>
            <a:ext cx="4857094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539AFEE-5377-4B98-8948-2138D28CE9B1}"/>
              </a:ext>
            </a:extLst>
          </p:cNvPr>
          <p:cNvSpPr/>
          <p:nvPr userDrawn="1"/>
        </p:nvSpPr>
        <p:spPr>
          <a:xfrm>
            <a:off x="5260189" y="6996041"/>
            <a:ext cx="1544231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3F8356B-EA0A-4C80-B5CC-DE386B7274CD}"/>
              </a:ext>
            </a:extLst>
          </p:cNvPr>
          <p:cNvSpPr/>
          <p:nvPr userDrawn="1"/>
        </p:nvSpPr>
        <p:spPr>
          <a:xfrm>
            <a:off x="244514" y="1739721"/>
            <a:ext cx="6559905" cy="998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B9B9D12-B8D8-4E3B-9585-56FDE533B048}"/>
              </a:ext>
            </a:extLst>
          </p:cNvPr>
          <p:cNvSpPr/>
          <p:nvPr userDrawn="1"/>
        </p:nvSpPr>
        <p:spPr>
          <a:xfrm>
            <a:off x="7249472" y="6996041"/>
            <a:ext cx="1544231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62739A4-02A5-496B-96B6-490ADD309305}"/>
              </a:ext>
            </a:extLst>
          </p:cNvPr>
          <p:cNvSpPr/>
          <p:nvPr userDrawn="1"/>
        </p:nvSpPr>
        <p:spPr>
          <a:xfrm>
            <a:off x="7249472" y="1741516"/>
            <a:ext cx="1527906" cy="980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00D2A54-7129-4F8D-8974-1AEC9D230B94}"/>
              </a:ext>
            </a:extLst>
          </p:cNvPr>
          <p:cNvSpPr/>
          <p:nvPr userDrawn="1"/>
        </p:nvSpPr>
        <p:spPr>
          <a:xfrm>
            <a:off x="244514" y="1037083"/>
            <a:ext cx="6559905" cy="614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02740BB-7125-49FC-AE7E-CEE0DA7899F1}"/>
              </a:ext>
            </a:extLst>
          </p:cNvPr>
          <p:cNvSpPr/>
          <p:nvPr userDrawn="1"/>
        </p:nvSpPr>
        <p:spPr>
          <a:xfrm>
            <a:off x="244513" y="7044363"/>
            <a:ext cx="4857094" cy="614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E8682CD-CBF4-487E-96A8-0A09FF8DB82D}"/>
              </a:ext>
            </a:extLst>
          </p:cNvPr>
          <p:cNvSpPr/>
          <p:nvPr userDrawn="1"/>
        </p:nvSpPr>
        <p:spPr>
          <a:xfrm>
            <a:off x="5233465" y="7044363"/>
            <a:ext cx="1544231" cy="614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42B45F7-3726-4913-84A3-A733BFDB63FB}"/>
              </a:ext>
            </a:extLst>
          </p:cNvPr>
          <p:cNvSpPr/>
          <p:nvPr userDrawn="1"/>
        </p:nvSpPr>
        <p:spPr>
          <a:xfrm>
            <a:off x="7256871" y="7044363"/>
            <a:ext cx="1544231" cy="614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D071D0B-8DD7-44AD-AF92-D1642E3CA791}"/>
              </a:ext>
            </a:extLst>
          </p:cNvPr>
          <p:cNvSpPr/>
          <p:nvPr userDrawn="1"/>
        </p:nvSpPr>
        <p:spPr>
          <a:xfrm>
            <a:off x="7250258" y="1037083"/>
            <a:ext cx="1543445" cy="614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Positive</a:t>
            </a:r>
          </a:p>
        </p:txBody>
      </p:sp>
    </p:spTree>
    <p:extLst>
      <p:ext uri="{BB962C8B-B14F-4D97-AF65-F5344CB8AC3E}">
        <p14:creationId xmlns:p14="http://schemas.microsoft.com/office/powerpoint/2010/main" val="771466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39" grpId="0" animBg="1"/>
      <p:bldP spid="40" grpId="0"/>
      <p:bldP spid="41" grpId="0"/>
      <p:bldP spid="42" grpId="0"/>
      <p:bldP spid="43" grpId="0"/>
      <p:bldP spid="44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_wClient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6285E7-2870-4B7B-A91B-358F97B2E1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598485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792D33B-58D5-41AB-9F66-6F387076FF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4044" y="3060970"/>
            <a:ext cx="5304175" cy="1671503"/>
          </a:xfrm>
          <a:noFill/>
        </p:spPr>
        <p:txBody>
          <a:bodyPr anchor="b">
            <a:noAutofit/>
          </a:bodyPr>
          <a:lstStyle>
            <a:lvl1pPr algn="l"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Title Block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044" y="5032414"/>
            <a:ext cx="5304175" cy="677637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0BD151-CA4C-C144-964C-BA07C87C7A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6" t="24742" r="7614" b="25086"/>
          <a:stretch/>
        </p:blipFill>
        <p:spPr>
          <a:xfrm>
            <a:off x="344043" y="881974"/>
            <a:ext cx="2859602" cy="8992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B3F8D5-CAAE-6A47-8861-17C3550465E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3527" y="43233"/>
            <a:ext cx="1234935" cy="9035915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86A517D-FDC2-6643-A914-F3E88D677EC1}"/>
              </a:ext>
            </a:extLst>
          </p:cNvPr>
          <p:cNvSpPr/>
          <p:nvPr userDrawn="1"/>
        </p:nvSpPr>
        <p:spPr>
          <a:xfrm>
            <a:off x="344044" y="6762273"/>
            <a:ext cx="2749641" cy="1441559"/>
          </a:xfrm>
          <a:prstGeom prst="roundRect">
            <a:avLst>
              <a:gd name="adj" fmla="val 8025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055352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hoto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61474AEC-C7DE-3741-96EA-0DADB3941E69}"/>
              </a:ext>
            </a:extLst>
          </p:cNvPr>
          <p:cNvGrpSpPr/>
          <p:nvPr userDrawn="1"/>
        </p:nvGrpSpPr>
        <p:grpSpPr>
          <a:xfrm>
            <a:off x="-2142742" y="2444389"/>
            <a:ext cx="10195879" cy="9705975"/>
            <a:chOff x="-6118144" y="-707309"/>
            <a:chExt cx="15040804" cy="10738578"/>
          </a:xfrm>
        </p:grpSpPr>
        <p:sp>
          <p:nvSpPr>
            <p:cNvPr id="26" name="Circle: Hollow 431">
              <a:extLst>
                <a:ext uri="{FF2B5EF4-FFF2-40B4-BE49-F238E27FC236}">
                  <a16:creationId xmlns:a16="http://schemas.microsoft.com/office/drawing/2014/main" id="{3894ACE2-C982-A848-BAA6-C649042F93FD}"/>
                </a:ext>
              </a:extLst>
            </p:cNvPr>
            <p:cNvSpPr/>
            <p:nvPr userDrawn="1"/>
          </p:nvSpPr>
          <p:spPr>
            <a:xfrm flipV="1">
              <a:off x="-6118144" y="-707309"/>
              <a:ext cx="10738580" cy="10738578"/>
            </a:xfrm>
            <a:prstGeom prst="donut">
              <a:avLst>
                <a:gd name="adj" fmla="val 17386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</a:rPr>
                <a:t>-</a:t>
              </a:r>
            </a:p>
          </p:txBody>
        </p:sp>
        <p:sp>
          <p:nvSpPr>
            <p:cNvPr id="27" name="Circle: Hollow 98">
              <a:extLst>
                <a:ext uri="{FF2B5EF4-FFF2-40B4-BE49-F238E27FC236}">
                  <a16:creationId xmlns:a16="http://schemas.microsoft.com/office/drawing/2014/main" id="{433B0788-1D0E-434E-8C29-7FE6B67EAEF8}"/>
                </a:ext>
              </a:extLst>
            </p:cNvPr>
            <p:cNvSpPr/>
            <p:nvPr userDrawn="1"/>
          </p:nvSpPr>
          <p:spPr>
            <a:xfrm flipV="1">
              <a:off x="-5968729" y="-543068"/>
              <a:ext cx="10421083" cy="10421080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 dirty="0">
                <a:solidFill>
                  <a:schemeClr val="bg1"/>
                </a:solidFill>
              </a:endParaRPr>
            </a:p>
          </p:txBody>
        </p:sp>
        <p:sp>
          <p:nvSpPr>
            <p:cNvPr id="28" name="Circle: Hollow 429">
              <a:extLst>
                <a:ext uri="{FF2B5EF4-FFF2-40B4-BE49-F238E27FC236}">
                  <a16:creationId xmlns:a16="http://schemas.microsoft.com/office/drawing/2014/main" id="{6AE632A0-60A7-564D-B3EA-96AA19A936C9}"/>
                </a:ext>
              </a:extLst>
            </p:cNvPr>
            <p:cNvSpPr/>
            <p:nvPr userDrawn="1"/>
          </p:nvSpPr>
          <p:spPr>
            <a:xfrm flipV="1">
              <a:off x="-4441553" y="984108"/>
              <a:ext cx="7366729" cy="7366728"/>
            </a:xfrm>
            <a:prstGeom prst="donut">
              <a:avLst>
                <a:gd name="adj" fmla="val 253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29" name="Freeform: Shape 428">
              <a:extLst>
                <a:ext uri="{FF2B5EF4-FFF2-40B4-BE49-F238E27FC236}">
                  <a16:creationId xmlns:a16="http://schemas.microsoft.com/office/drawing/2014/main" id="{746FD6CB-30A3-6140-BCB4-082BE4334CD3}"/>
                </a:ext>
              </a:extLst>
            </p:cNvPr>
            <p:cNvSpPr/>
            <p:nvPr userDrawn="1"/>
          </p:nvSpPr>
          <p:spPr>
            <a:xfrm>
              <a:off x="-5968729" y="-530765"/>
              <a:ext cx="10375356" cy="10394676"/>
            </a:xfrm>
            <a:custGeom>
              <a:avLst/>
              <a:gdLst>
                <a:gd name="connsiteX0" fmla="*/ 6202887 w 10375356"/>
                <a:gd name="connsiteY0" fmla="*/ 10086957 h 10394676"/>
                <a:gd name="connsiteX1" fmla="*/ 6713710 w 10375356"/>
                <a:gd name="connsiteY1" fmla="*/ 10086957 h 10394676"/>
                <a:gd name="connsiteX2" fmla="*/ 6713710 w 10375356"/>
                <a:gd name="connsiteY2" fmla="*/ 10187665 h 10394676"/>
                <a:gd name="connsiteX3" fmla="*/ 6709472 w 10375356"/>
                <a:gd name="connsiteY3" fmla="*/ 10188869 h 10394676"/>
                <a:gd name="connsiteX4" fmla="*/ 6202887 w 10375356"/>
                <a:gd name="connsiteY4" fmla="*/ 10188869 h 10394676"/>
                <a:gd name="connsiteX5" fmla="*/ 5634740 w 10375356"/>
                <a:gd name="connsiteY5" fmla="*/ 9974857 h 10394676"/>
                <a:gd name="connsiteX6" fmla="*/ 5471684 w 10375356"/>
                <a:gd name="connsiteY6" fmla="*/ 10137913 h 10394676"/>
                <a:gd name="connsiteX7" fmla="*/ 5634740 w 10375356"/>
                <a:gd name="connsiteY7" fmla="*/ 10300969 h 10394676"/>
                <a:gd name="connsiteX8" fmla="*/ 5797795 w 10375356"/>
                <a:gd name="connsiteY8" fmla="*/ 10137913 h 10394676"/>
                <a:gd name="connsiteX9" fmla="*/ 5634740 w 10375356"/>
                <a:gd name="connsiteY9" fmla="*/ 9974857 h 10394676"/>
                <a:gd name="connsiteX10" fmla="*/ 7232175 w 10375356"/>
                <a:gd name="connsiteY10" fmla="*/ 9881865 h 10394676"/>
                <a:gd name="connsiteX11" fmla="*/ 7334085 w 10375356"/>
                <a:gd name="connsiteY11" fmla="*/ 9881865 h 10394676"/>
                <a:gd name="connsiteX12" fmla="*/ 7334085 w 10375356"/>
                <a:gd name="connsiteY12" fmla="*/ 9956193 h 10394676"/>
                <a:gd name="connsiteX13" fmla="*/ 7238719 w 10375356"/>
                <a:gd name="connsiteY13" fmla="*/ 9999307 h 10394676"/>
                <a:gd name="connsiteX14" fmla="*/ 7232175 w 10375356"/>
                <a:gd name="connsiteY14" fmla="*/ 10001887 h 10394676"/>
                <a:gd name="connsiteX15" fmla="*/ 4751991 w 10375356"/>
                <a:gd name="connsiteY15" fmla="*/ 9881865 h 10394676"/>
                <a:gd name="connsiteX16" fmla="*/ 4853901 w 10375356"/>
                <a:gd name="connsiteY16" fmla="*/ 9881865 h 10394676"/>
                <a:gd name="connsiteX17" fmla="*/ 4853901 w 10375356"/>
                <a:gd name="connsiteY17" fmla="*/ 10290777 h 10394676"/>
                <a:gd name="connsiteX18" fmla="*/ 4751991 w 10375356"/>
                <a:gd name="connsiteY18" fmla="*/ 10290777 h 10394676"/>
                <a:gd name="connsiteX19" fmla="*/ 5636013 w 10375356"/>
                <a:gd name="connsiteY19" fmla="*/ 9872947 h 10394676"/>
                <a:gd name="connsiteX20" fmla="*/ 5900978 w 10375356"/>
                <a:gd name="connsiteY20" fmla="*/ 10137913 h 10394676"/>
                <a:gd name="connsiteX21" fmla="*/ 5739217 w 10375356"/>
                <a:gd name="connsiteY21" fmla="*/ 10382077 h 10394676"/>
                <a:gd name="connsiteX22" fmla="*/ 5738756 w 10375356"/>
                <a:gd name="connsiteY22" fmla="*/ 10382220 h 10394676"/>
                <a:gd name="connsiteX23" fmla="*/ 5574951 w 10375356"/>
                <a:gd name="connsiteY23" fmla="*/ 10394676 h 10394676"/>
                <a:gd name="connsiteX24" fmla="*/ 5532810 w 10375356"/>
                <a:gd name="connsiteY24" fmla="*/ 10381361 h 10394676"/>
                <a:gd name="connsiteX25" fmla="*/ 5371048 w 10375356"/>
                <a:gd name="connsiteY25" fmla="*/ 10137913 h 10394676"/>
                <a:gd name="connsiteX26" fmla="*/ 5636013 w 10375356"/>
                <a:gd name="connsiteY26" fmla="*/ 9872947 h 10394676"/>
                <a:gd name="connsiteX27" fmla="*/ 3978752 w 10375356"/>
                <a:gd name="connsiteY27" fmla="*/ 9872947 h 10394676"/>
                <a:gd name="connsiteX28" fmla="*/ 4243718 w 10375356"/>
                <a:gd name="connsiteY28" fmla="*/ 10137913 h 10394676"/>
                <a:gd name="connsiteX29" fmla="*/ 4222918 w 10375356"/>
                <a:gd name="connsiteY29" fmla="*/ 10241117 h 10394676"/>
                <a:gd name="connsiteX30" fmla="*/ 4179036 w 10375356"/>
                <a:gd name="connsiteY30" fmla="*/ 10306239 h 10394676"/>
                <a:gd name="connsiteX31" fmla="*/ 4160436 w 10375356"/>
                <a:gd name="connsiteY31" fmla="*/ 10302917 h 10394676"/>
                <a:gd name="connsiteX32" fmla="*/ 4056265 w 10375356"/>
                <a:gd name="connsiteY32" fmla="*/ 10278875 h 10394676"/>
                <a:gd name="connsiteX33" fmla="*/ 4094199 w 10375356"/>
                <a:gd name="connsiteY33" fmla="*/ 10253357 h 10394676"/>
                <a:gd name="connsiteX34" fmla="*/ 4141809 w 10375356"/>
                <a:gd name="connsiteY34" fmla="*/ 10137913 h 10394676"/>
                <a:gd name="connsiteX35" fmla="*/ 3978752 w 10375356"/>
                <a:gd name="connsiteY35" fmla="*/ 9974857 h 10394676"/>
                <a:gd name="connsiteX36" fmla="*/ 3815698 w 10375356"/>
                <a:gd name="connsiteY36" fmla="*/ 10137913 h 10394676"/>
                <a:gd name="connsiteX37" fmla="*/ 3828457 w 10375356"/>
                <a:gd name="connsiteY37" fmla="*/ 10201547 h 10394676"/>
                <a:gd name="connsiteX38" fmla="*/ 3845505 w 10375356"/>
                <a:gd name="connsiteY38" fmla="*/ 10226891 h 10394676"/>
                <a:gd name="connsiteX39" fmla="*/ 3724813 w 10375356"/>
                <a:gd name="connsiteY39" fmla="*/ 10192618 h 10394676"/>
                <a:gd name="connsiteX40" fmla="*/ 3713787 w 10375356"/>
                <a:gd name="connsiteY40" fmla="*/ 10137913 h 10394676"/>
                <a:gd name="connsiteX41" fmla="*/ 3978752 w 10375356"/>
                <a:gd name="connsiteY41" fmla="*/ 9872947 h 10394676"/>
                <a:gd name="connsiteX42" fmla="*/ 3155832 w 10375356"/>
                <a:gd name="connsiteY42" fmla="*/ 9872947 h 10394676"/>
                <a:gd name="connsiteX43" fmla="*/ 3399999 w 10375356"/>
                <a:gd name="connsiteY43" fmla="*/ 10034709 h 10394676"/>
                <a:gd name="connsiteX44" fmla="*/ 3411035 w 10375356"/>
                <a:gd name="connsiteY44" fmla="*/ 10089469 h 10394676"/>
                <a:gd name="connsiteX45" fmla="*/ 3280434 w 10375356"/>
                <a:gd name="connsiteY45" fmla="*/ 10037975 h 10394676"/>
                <a:gd name="connsiteX46" fmla="*/ 3270003 w 10375356"/>
                <a:gd name="connsiteY46" fmla="*/ 10022469 h 10394676"/>
                <a:gd name="connsiteX47" fmla="*/ 3154558 w 10375356"/>
                <a:gd name="connsiteY47" fmla="*/ 9974857 h 10394676"/>
                <a:gd name="connsiteX48" fmla="*/ 3136355 w 10375356"/>
                <a:gd name="connsiteY48" fmla="*/ 9978507 h 10394676"/>
                <a:gd name="connsiteX49" fmla="*/ 3005935 w 10375356"/>
                <a:gd name="connsiteY49" fmla="*/ 9919545 h 10394676"/>
                <a:gd name="connsiteX50" fmla="*/ 3007618 w 10375356"/>
                <a:gd name="connsiteY50" fmla="*/ 9918157 h 10394676"/>
                <a:gd name="connsiteX51" fmla="*/ 3155832 w 10375356"/>
                <a:gd name="connsiteY51" fmla="*/ 9872947 h 10394676"/>
                <a:gd name="connsiteX52" fmla="*/ 7851277 w 10375356"/>
                <a:gd name="connsiteY52" fmla="*/ 9262761 h 10394676"/>
                <a:gd name="connsiteX53" fmla="*/ 8362099 w 10375356"/>
                <a:gd name="connsiteY53" fmla="*/ 9262761 h 10394676"/>
                <a:gd name="connsiteX54" fmla="*/ 8362099 w 10375356"/>
                <a:gd name="connsiteY54" fmla="*/ 9346902 h 10394676"/>
                <a:gd name="connsiteX55" fmla="*/ 8339488 w 10375356"/>
                <a:gd name="connsiteY55" fmla="*/ 9364671 h 10394676"/>
                <a:gd name="connsiteX56" fmla="*/ 7851277 w 10375356"/>
                <a:gd name="connsiteY56" fmla="*/ 9364671 h 10394676"/>
                <a:gd name="connsiteX57" fmla="*/ 5379965 w 10375356"/>
                <a:gd name="connsiteY57" fmla="*/ 9262761 h 10394676"/>
                <a:gd name="connsiteX58" fmla="*/ 5890787 w 10375356"/>
                <a:gd name="connsiteY58" fmla="*/ 9262761 h 10394676"/>
                <a:gd name="connsiteX59" fmla="*/ 5890787 w 10375356"/>
                <a:gd name="connsiteY59" fmla="*/ 9364671 h 10394676"/>
                <a:gd name="connsiteX60" fmla="*/ 5379965 w 10375356"/>
                <a:gd name="connsiteY60" fmla="*/ 9364671 h 10394676"/>
                <a:gd name="connsiteX61" fmla="*/ 4546902 w 10375356"/>
                <a:gd name="connsiteY61" fmla="*/ 9262761 h 10394676"/>
                <a:gd name="connsiteX62" fmla="*/ 5057725 w 10375356"/>
                <a:gd name="connsiteY62" fmla="*/ 9262761 h 10394676"/>
                <a:gd name="connsiteX63" fmla="*/ 5057725 w 10375356"/>
                <a:gd name="connsiteY63" fmla="*/ 9364671 h 10394676"/>
                <a:gd name="connsiteX64" fmla="*/ 4546902 w 10375356"/>
                <a:gd name="connsiteY64" fmla="*/ 9364671 h 10394676"/>
                <a:gd name="connsiteX65" fmla="*/ 2899787 w 10375356"/>
                <a:gd name="connsiteY65" fmla="*/ 9262761 h 10394676"/>
                <a:gd name="connsiteX66" fmla="*/ 3410609 w 10375356"/>
                <a:gd name="connsiteY66" fmla="*/ 9262761 h 10394676"/>
                <a:gd name="connsiteX67" fmla="*/ 3410609 w 10375356"/>
                <a:gd name="connsiteY67" fmla="*/ 9364671 h 10394676"/>
                <a:gd name="connsiteX68" fmla="*/ 2899787 w 10375356"/>
                <a:gd name="connsiteY68" fmla="*/ 9364671 h 10394676"/>
                <a:gd name="connsiteX69" fmla="*/ 6450017 w 10375356"/>
                <a:gd name="connsiteY69" fmla="*/ 9150661 h 10394676"/>
                <a:gd name="connsiteX70" fmla="*/ 6286962 w 10375356"/>
                <a:gd name="connsiteY70" fmla="*/ 9313717 h 10394676"/>
                <a:gd name="connsiteX71" fmla="*/ 6450017 w 10375356"/>
                <a:gd name="connsiteY71" fmla="*/ 9476773 h 10394676"/>
                <a:gd name="connsiteX72" fmla="*/ 6613073 w 10375356"/>
                <a:gd name="connsiteY72" fmla="*/ 9313717 h 10394676"/>
                <a:gd name="connsiteX73" fmla="*/ 6450017 w 10375356"/>
                <a:gd name="connsiteY73" fmla="*/ 9150661 h 10394676"/>
                <a:gd name="connsiteX74" fmla="*/ 3978754 w 10375356"/>
                <a:gd name="connsiteY74" fmla="*/ 9150661 h 10394676"/>
                <a:gd name="connsiteX75" fmla="*/ 3815700 w 10375356"/>
                <a:gd name="connsiteY75" fmla="*/ 9313717 h 10394676"/>
                <a:gd name="connsiteX76" fmla="*/ 3978754 w 10375356"/>
                <a:gd name="connsiteY76" fmla="*/ 9476773 h 10394676"/>
                <a:gd name="connsiteX77" fmla="*/ 4141811 w 10375356"/>
                <a:gd name="connsiteY77" fmla="*/ 9313717 h 10394676"/>
                <a:gd name="connsiteX78" fmla="*/ 3978754 w 10375356"/>
                <a:gd name="connsiteY78" fmla="*/ 9150661 h 10394676"/>
                <a:gd name="connsiteX79" fmla="*/ 7232175 w 10375356"/>
                <a:gd name="connsiteY79" fmla="*/ 9057669 h 10394676"/>
                <a:gd name="connsiteX80" fmla="*/ 7334085 w 10375356"/>
                <a:gd name="connsiteY80" fmla="*/ 9057669 h 10394676"/>
                <a:gd name="connsiteX81" fmla="*/ 7334085 w 10375356"/>
                <a:gd name="connsiteY81" fmla="*/ 9568493 h 10394676"/>
                <a:gd name="connsiteX82" fmla="*/ 7232175 w 10375356"/>
                <a:gd name="connsiteY82" fmla="*/ 9568493 h 10394676"/>
                <a:gd name="connsiteX83" fmla="*/ 2280685 w 10375356"/>
                <a:gd name="connsiteY83" fmla="*/ 9057669 h 10394676"/>
                <a:gd name="connsiteX84" fmla="*/ 2382595 w 10375356"/>
                <a:gd name="connsiteY84" fmla="*/ 9057669 h 10394676"/>
                <a:gd name="connsiteX85" fmla="*/ 2382595 w 10375356"/>
                <a:gd name="connsiteY85" fmla="*/ 9568493 h 10394676"/>
                <a:gd name="connsiteX86" fmla="*/ 2374638 w 10375356"/>
                <a:gd name="connsiteY86" fmla="*/ 9568493 h 10394676"/>
                <a:gd name="connsiteX87" fmla="*/ 2297278 w 10375356"/>
                <a:gd name="connsiteY87" fmla="*/ 9518899 h 10394676"/>
                <a:gd name="connsiteX88" fmla="*/ 2280685 w 10375356"/>
                <a:gd name="connsiteY88" fmla="*/ 9507099 h 10394676"/>
                <a:gd name="connsiteX89" fmla="*/ 6450017 w 10375356"/>
                <a:gd name="connsiteY89" fmla="*/ 9048751 h 10394676"/>
                <a:gd name="connsiteX90" fmla="*/ 6714982 w 10375356"/>
                <a:gd name="connsiteY90" fmla="*/ 9313717 h 10394676"/>
                <a:gd name="connsiteX91" fmla="*/ 6450017 w 10375356"/>
                <a:gd name="connsiteY91" fmla="*/ 9578681 h 10394676"/>
                <a:gd name="connsiteX92" fmla="*/ 6185052 w 10375356"/>
                <a:gd name="connsiteY92" fmla="*/ 9313717 h 10394676"/>
                <a:gd name="connsiteX93" fmla="*/ 6450017 w 10375356"/>
                <a:gd name="connsiteY93" fmla="*/ 9048751 h 10394676"/>
                <a:gd name="connsiteX94" fmla="*/ 3978754 w 10375356"/>
                <a:gd name="connsiteY94" fmla="*/ 9048751 h 10394676"/>
                <a:gd name="connsiteX95" fmla="*/ 4243720 w 10375356"/>
                <a:gd name="connsiteY95" fmla="*/ 9313717 h 10394676"/>
                <a:gd name="connsiteX96" fmla="*/ 3978754 w 10375356"/>
                <a:gd name="connsiteY96" fmla="*/ 9578681 h 10394676"/>
                <a:gd name="connsiteX97" fmla="*/ 3713789 w 10375356"/>
                <a:gd name="connsiteY97" fmla="*/ 9313717 h 10394676"/>
                <a:gd name="connsiteX98" fmla="*/ 3978754 w 10375356"/>
                <a:gd name="connsiteY98" fmla="*/ 9048751 h 10394676"/>
                <a:gd name="connsiteX99" fmla="*/ 5676776 w 10375356"/>
                <a:gd name="connsiteY99" fmla="*/ 8665264 h 10394676"/>
                <a:gd name="connsiteX100" fmla="*/ 5676776 w 10375356"/>
                <a:gd name="connsiteY100" fmla="*/ 8745569 h 10394676"/>
                <a:gd name="connsiteX101" fmla="*/ 5574867 w 10375356"/>
                <a:gd name="connsiteY101" fmla="*/ 8745569 h 10394676"/>
                <a:gd name="connsiteX102" fmla="*/ 5574867 w 10375356"/>
                <a:gd name="connsiteY102" fmla="*/ 8678214 h 10394676"/>
                <a:gd name="connsiteX103" fmla="*/ 3918880 w 10375356"/>
                <a:gd name="connsiteY103" fmla="*/ 8449859 h 10394676"/>
                <a:gd name="connsiteX104" fmla="*/ 4007509 w 10375356"/>
                <a:gd name="connsiteY104" fmla="*/ 8484804 h 10394676"/>
                <a:gd name="connsiteX105" fmla="*/ 4020789 w 10375356"/>
                <a:gd name="connsiteY105" fmla="*/ 8489298 h 10394676"/>
                <a:gd name="connsiteX106" fmla="*/ 4020789 w 10375356"/>
                <a:gd name="connsiteY106" fmla="*/ 8745569 h 10394676"/>
                <a:gd name="connsiteX107" fmla="*/ 3918880 w 10375356"/>
                <a:gd name="connsiteY107" fmla="*/ 8745569 h 10394676"/>
                <a:gd name="connsiteX108" fmla="*/ 7018165 w 10375356"/>
                <a:gd name="connsiteY108" fmla="*/ 8438567 h 10394676"/>
                <a:gd name="connsiteX109" fmla="*/ 7528988 w 10375356"/>
                <a:gd name="connsiteY109" fmla="*/ 8438567 h 10394676"/>
                <a:gd name="connsiteX110" fmla="*/ 7528988 w 10375356"/>
                <a:gd name="connsiteY110" fmla="*/ 8540477 h 10394676"/>
                <a:gd name="connsiteX111" fmla="*/ 7018165 w 10375356"/>
                <a:gd name="connsiteY111" fmla="*/ 8540477 h 10394676"/>
                <a:gd name="connsiteX112" fmla="*/ 6530840 w 10375356"/>
                <a:gd name="connsiteY112" fmla="*/ 8438567 h 10394676"/>
                <a:gd name="connsiteX113" fmla="*/ 6697148 w 10375356"/>
                <a:gd name="connsiteY113" fmla="*/ 8438567 h 10394676"/>
                <a:gd name="connsiteX114" fmla="*/ 6697148 w 10375356"/>
                <a:gd name="connsiteY114" fmla="*/ 8540477 h 10394676"/>
                <a:gd name="connsiteX115" fmla="*/ 6248661 w 10375356"/>
                <a:gd name="connsiteY115" fmla="*/ 8540477 h 10394676"/>
                <a:gd name="connsiteX116" fmla="*/ 6251001 w 10375356"/>
                <a:gd name="connsiteY116" fmla="*/ 8539813 h 10394676"/>
                <a:gd name="connsiteX117" fmla="*/ 6413573 w 10375356"/>
                <a:gd name="connsiteY117" fmla="*/ 8484804 h 10394676"/>
                <a:gd name="connsiteX118" fmla="*/ 2066673 w 10375356"/>
                <a:gd name="connsiteY118" fmla="*/ 8438567 h 10394676"/>
                <a:gd name="connsiteX119" fmla="*/ 2577496 w 10375356"/>
                <a:gd name="connsiteY119" fmla="*/ 8438567 h 10394676"/>
                <a:gd name="connsiteX120" fmla="*/ 2577496 w 10375356"/>
                <a:gd name="connsiteY120" fmla="*/ 8540477 h 10394676"/>
                <a:gd name="connsiteX121" fmla="*/ 2066673 w 10375356"/>
                <a:gd name="connsiteY121" fmla="*/ 8540477 h 10394676"/>
                <a:gd name="connsiteX122" fmla="*/ 1234837 w 10375356"/>
                <a:gd name="connsiteY122" fmla="*/ 8438567 h 10394676"/>
                <a:gd name="connsiteX123" fmla="*/ 1745660 w 10375356"/>
                <a:gd name="connsiteY123" fmla="*/ 8438567 h 10394676"/>
                <a:gd name="connsiteX124" fmla="*/ 1745660 w 10375356"/>
                <a:gd name="connsiteY124" fmla="*/ 8540477 h 10394676"/>
                <a:gd name="connsiteX125" fmla="*/ 1234837 w 10375356"/>
                <a:gd name="connsiteY125" fmla="*/ 8540477 h 10394676"/>
                <a:gd name="connsiteX126" fmla="*/ 8870376 w 10375356"/>
                <a:gd name="connsiteY126" fmla="*/ 8234747 h 10394676"/>
                <a:gd name="connsiteX127" fmla="*/ 8972285 w 10375356"/>
                <a:gd name="connsiteY127" fmla="*/ 8234747 h 10394676"/>
                <a:gd name="connsiteX128" fmla="*/ 8972285 w 10375356"/>
                <a:gd name="connsiteY128" fmla="*/ 8745569 h 10394676"/>
                <a:gd name="connsiteX129" fmla="*/ 8870376 w 10375356"/>
                <a:gd name="connsiteY129" fmla="*/ 8745569 h 10394676"/>
                <a:gd name="connsiteX130" fmla="*/ 8046180 w 10375356"/>
                <a:gd name="connsiteY130" fmla="*/ 8234747 h 10394676"/>
                <a:gd name="connsiteX131" fmla="*/ 8148089 w 10375356"/>
                <a:gd name="connsiteY131" fmla="*/ 8234747 h 10394676"/>
                <a:gd name="connsiteX132" fmla="*/ 8148089 w 10375356"/>
                <a:gd name="connsiteY132" fmla="*/ 8745569 h 10394676"/>
                <a:gd name="connsiteX133" fmla="*/ 8046180 w 10375356"/>
                <a:gd name="connsiteY133" fmla="*/ 8745569 h 10394676"/>
                <a:gd name="connsiteX134" fmla="*/ 3094685 w 10375356"/>
                <a:gd name="connsiteY134" fmla="*/ 8234747 h 10394676"/>
                <a:gd name="connsiteX135" fmla="*/ 3196595 w 10375356"/>
                <a:gd name="connsiteY135" fmla="*/ 8234747 h 10394676"/>
                <a:gd name="connsiteX136" fmla="*/ 3196595 w 10375356"/>
                <a:gd name="connsiteY136" fmla="*/ 8745569 h 10394676"/>
                <a:gd name="connsiteX137" fmla="*/ 3094685 w 10375356"/>
                <a:gd name="connsiteY137" fmla="*/ 8745569 h 10394676"/>
                <a:gd name="connsiteX138" fmla="*/ 9489477 w 10375356"/>
                <a:gd name="connsiteY138" fmla="*/ 7615645 h 10394676"/>
                <a:gd name="connsiteX139" fmla="*/ 9824110 w 10375356"/>
                <a:gd name="connsiteY139" fmla="*/ 7615645 h 10394676"/>
                <a:gd name="connsiteX140" fmla="*/ 9792198 w 10375356"/>
                <a:gd name="connsiteY140" fmla="*/ 7681890 h 10394676"/>
                <a:gd name="connsiteX141" fmla="*/ 9770531 w 10375356"/>
                <a:gd name="connsiteY141" fmla="*/ 7717555 h 10394676"/>
                <a:gd name="connsiteX142" fmla="*/ 9489477 w 10375356"/>
                <a:gd name="connsiteY142" fmla="*/ 7717555 h 10394676"/>
                <a:gd name="connsiteX143" fmla="*/ 8666557 w 10375356"/>
                <a:gd name="connsiteY143" fmla="*/ 7615645 h 10394676"/>
                <a:gd name="connsiteX144" fmla="*/ 9177379 w 10375356"/>
                <a:gd name="connsiteY144" fmla="*/ 7615645 h 10394676"/>
                <a:gd name="connsiteX145" fmla="*/ 9177379 w 10375356"/>
                <a:gd name="connsiteY145" fmla="*/ 7717555 h 10394676"/>
                <a:gd name="connsiteX146" fmla="*/ 8666557 w 10375356"/>
                <a:gd name="connsiteY146" fmla="*/ 7717555 h 10394676"/>
                <a:gd name="connsiteX147" fmla="*/ 2322721 w 10375356"/>
                <a:gd name="connsiteY147" fmla="*/ 7503545 h 10394676"/>
                <a:gd name="connsiteX148" fmla="*/ 2159665 w 10375356"/>
                <a:gd name="connsiteY148" fmla="*/ 7666599 h 10394676"/>
                <a:gd name="connsiteX149" fmla="*/ 2322721 w 10375356"/>
                <a:gd name="connsiteY149" fmla="*/ 7829655 h 10394676"/>
                <a:gd name="connsiteX150" fmla="*/ 2485776 w 10375356"/>
                <a:gd name="connsiteY150" fmla="*/ 7666599 h 10394676"/>
                <a:gd name="connsiteX151" fmla="*/ 2322721 w 10375356"/>
                <a:gd name="connsiteY151" fmla="*/ 7503545 h 10394676"/>
                <a:gd name="connsiteX152" fmla="*/ 8046180 w 10375356"/>
                <a:gd name="connsiteY152" fmla="*/ 7410553 h 10394676"/>
                <a:gd name="connsiteX153" fmla="*/ 8148089 w 10375356"/>
                <a:gd name="connsiteY153" fmla="*/ 7410553 h 10394676"/>
                <a:gd name="connsiteX154" fmla="*/ 8148089 w 10375356"/>
                <a:gd name="connsiteY154" fmla="*/ 7921375 h 10394676"/>
                <a:gd name="connsiteX155" fmla="*/ 8046180 w 10375356"/>
                <a:gd name="connsiteY155" fmla="*/ 7921375 h 10394676"/>
                <a:gd name="connsiteX156" fmla="*/ 1447573 w 10375356"/>
                <a:gd name="connsiteY156" fmla="*/ 7410553 h 10394676"/>
                <a:gd name="connsiteX157" fmla="*/ 1549483 w 10375356"/>
                <a:gd name="connsiteY157" fmla="*/ 7410553 h 10394676"/>
                <a:gd name="connsiteX158" fmla="*/ 1549483 w 10375356"/>
                <a:gd name="connsiteY158" fmla="*/ 7921375 h 10394676"/>
                <a:gd name="connsiteX159" fmla="*/ 1447573 w 10375356"/>
                <a:gd name="connsiteY159" fmla="*/ 7921375 h 10394676"/>
                <a:gd name="connsiteX160" fmla="*/ 2322721 w 10375356"/>
                <a:gd name="connsiteY160" fmla="*/ 7401633 h 10394676"/>
                <a:gd name="connsiteX161" fmla="*/ 2587686 w 10375356"/>
                <a:gd name="connsiteY161" fmla="*/ 7666599 h 10394676"/>
                <a:gd name="connsiteX162" fmla="*/ 2322721 w 10375356"/>
                <a:gd name="connsiteY162" fmla="*/ 7931565 h 10394676"/>
                <a:gd name="connsiteX163" fmla="*/ 2057755 w 10375356"/>
                <a:gd name="connsiteY163" fmla="*/ 7666599 h 10394676"/>
                <a:gd name="connsiteX164" fmla="*/ 2322721 w 10375356"/>
                <a:gd name="connsiteY164" fmla="*/ 7401633 h 10394676"/>
                <a:gd name="connsiteX165" fmla="*/ 674333 w 10375356"/>
                <a:gd name="connsiteY165" fmla="*/ 7401633 h 10394676"/>
                <a:gd name="connsiteX166" fmla="*/ 939299 w 10375356"/>
                <a:gd name="connsiteY166" fmla="*/ 7666599 h 10394676"/>
                <a:gd name="connsiteX167" fmla="*/ 777537 w 10375356"/>
                <a:gd name="connsiteY167" fmla="*/ 7910765 h 10394676"/>
                <a:gd name="connsiteX168" fmla="*/ 769452 w 10375356"/>
                <a:gd name="connsiteY168" fmla="*/ 7913271 h 10394676"/>
                <a:gd name="connsiteX169" fmla="*/ 713980 w 10375356"/>
                <a:gd name="connsiteY169" fmla="*/ 7821961 h 10394676"/>
                <a:gd name="connsiteX170" fmla="*/ 739241 w 10375356"/>
                <a:gd name="connsiteY170" fmla="*/ 7816897 h 10394676"/>
                <a:gd name="connsiteX171" fmla="*/ 838662 w 10375356"/>
                <a:gd name="connsiteY171" fmla="*/ 7666599 h 10394676"/>
                <a:gd name="connsiteX172" fmla="*/ 675607 w 10375356"/>
                <a:gd name="connsiteY172" fmla="*/ 7503545 h 10394676"/>
                <a:gd name="connsiteX173" fmla="*/ 611973 w 10375356"/>
                <a:gd name="connsiteY173" fmla="*/ 7516304 h 10394676"/>
                <a:gd name="connsiteX174" fmla="*/ 564501 w 10375356"/>
                <a:gd name="connsiteY174" fmla="*/ 7548238 h 10394676"/>
                <a:gd name="connsiteX175" fmla="*/ 518632 w 10375356"/>
                <a:gd name="connsiteY175" fmla="*/ 7453019 h 10394676"/>
                <a:gd name="connsiteX176" fmla="*/ 526119 w 10375356"/>
                <a:gd name="connsiteY176" fmla="*/ 7446844 h 10394676"/>
                <a:gd name="connsiteX177" fmla="*/ 674333 w 10375356"/>
                <a:gd name="connsiteY177" fmla="*/ 7401633 h 10394676"/>
                <a:gd name="connsiteX178" fmla="*/ 8148089 w 10375356"/>
                <a:gd name="connsiteY178" fmla="*/ 7094869 h 10394676"/>
                <a:gd name="connsiteX179" fmla="*/ 8148089 w 10375356"/>
                <a:gd name="connsiteY179" fmla="*/ 7097179 h 10394676"/>
                <a:gd name="connsiteX180" fmla="*/ 8146686 w 10375356"/>
                <a:gd name="connsiteY180" fmla="*/ 7097179 h 10394676"/>
                <a:gd name="connsiteX181" fmla="*/ 8665281 w 10375356"/>
                <a:gd name="connsiteY181" fmla="*/ 6791449 h 10394676"/>
                <a:gd name="connsiteX182" fmla="*/ 9176104 w 10375356"/>
                <a:gd name="connsiteY182" fmla="*/ 6791449 h 10394676"/>
                <a:gd name="connsiteX183" fmla="*/ 9176104 w 10375356"/>
                <a:gd name="connsiteY183" fmla="*/ 6893357 h 10394676"/>
                <a:gd name="connsiteX184" fmla="*/ 8665281 w 10375356"/>
                <a:gd name="connsiteY184" fmla="*/ 6893357 h 10394676"/>
                <a:gd name="connsiteX185" fmla="*/ 2066681 w 10375356"/>
                <a:gd name="connsiteY185" fmla="*/ 6791449 h 10394676"/>
                <a:gd name="connsiteX186" fmla="*/ 2098040 w 10375356"/>
                <a:gd name="connsiteY186" fmla="*/ 6791449 h 10394676"/>
                <a:gd name="connsiteX187" fmla="*/ 2133958 w 10375356"/>
                <a:gd name="connsiteY187" fmla="*/ 6866010 h 10394676"/>
                <a:gd name="connsiteX188" fmla="*/ 2150572 w 10375356"/>
                <a:gd name="connsiteY188" fmla="*/ 6893357 h 10394676"/>
                <a:gd name="connsiteX189" fmla="*/ 2066681 w 10375356"/>
                <a:gd name="connsiteY189" fmla="*/ 6893357 h 10394676"/>
                <a:gd name="connsiteX190" fmla="*/ 419562 w 10375356"/>
                <a:gd name="connsiteY190" fmla="*/ 6791449 h 10394676"/>
                <a:gd name="connsiteX191" fmla="*/ 930385 w 10375356"/>
                <a:gd name="connsiteY191" fmla="*/ 6791449 h 10394676"/>
                <a:gd name="connsiteX192" fmla="*/ 930385 w 10375356"/>
                <a:gd name="connsiteY192" fmla="*/ 6893357 h 10394676"/>
                <a:gd name="connsiteX193" fmla="*/ 419562 w 10375356"/>
                <a:gd name="connsiteY193" fmla="*/ 6893357 h 10394676"/>
                <a:gd name="connsiteX194" fmla="*/ 9745526 w 10375356"/>
                <a:gd name="connsiteY194" fmla="*/ 6679349 h 10394676"/>
                <a:gd name="connsiteX195" fmla="*/ 9582469 w 10375356"/>
                <a:gd name="connsiteY195" fmla="*/ 6842405 h 10394676"/>
                <a:gd name="connsiteX196" fmla="*/ 9745526 w 10375356"/>
                <a:gd name="connsiteY196" fmla="*/ 7005461 h 10394676"/>
                <a:gd name="connsiteX197" fmla="*/ 9908582 w 10375356"/>
                <a:gd name="connsiteY197" fmla="*/ 6842405 h 10394676"/>
                <a:gd name="connsiteX198" fmla="*/ 9745526 w 10375356"/>
                <a:gd name="connsiteY198" fmla="*/ 6679349 h 10394676"/>
                <a:gd name="connsiteX199" fmla="*/ 1498533 w 10375356"/>
                <a:gd name="connsiteY199" fmla="*/ 6679349 h 10394676"/>
                <a:gd name="connsiteX200" fmla="*/ 1335477 w 10375356"/>
                <a:gd name="connsiteY200" fmla="*/ 6842405 h 10394676"/>
                <a:gd name="connsiteX201" fmla="*/ 1498533 w 10375356"/>
                <a:gd name="connsiteY201" fmla="*/ 7005461 h 10394676"/>
                <a:gd name="connsiteX202" fmla="*/ 1661588 w 10375356"/>
                <a:gd name="connsiteY202" fmla="*/ 6842405 h 10394676"/>
                <a:gd name="connsiteX203" fmla="*/ 1498533 w 10375356"/>
                <a:gd name="connsiteY203" fmla="*/ 6679349 h 10394676"/>
                <a:gd name="connsiteX204" fmla="*/ 9744252 w 10375356"/>
                <a:gd name="connsiteY204" fmla="*/ 6577439 h 10394676"/>
                <a:gd name="connsiteX205" fmla="*/ 10009217 w 10375356"/>
                <a:gd name="connsiteY205" fmla="*/ 6842405 h 10394676"/>
                <a:gd name="connsiteX206" fmla="*/ 9744252 w 10375356"/>
                <a:gd name="connsiteY206" fmla="*/ 7107369 h 10394676"/>
                <a:gd name="connsiteX207" fmla="*/ 9479286 w 10375356"/>
                <a:gd name="connsiteY207" fmla="*/ 6842405 h 10394676"/>
                <a:gd name="connsiteX208" fmla="*/ 9744252 w 10375356"/>
                <a:gd name="connsiteY208" fmla="*/ 6577439 h 10394676"/>
                <a:gd name="connsiteX209" fmla="*/ 1499807 w 10375356"/>
                <a:gd name="connsiteY209" fmla="*/ 6577439 h 10394676"/>
                <a:gd name="connsiteX210" fmla="*/ 1764771 w 10375356"/>
                <a:gd name="connsiteY210" fmla="*/ 6842405 h 10394676"/>
                <a:gd name="connsiteX211" fmla="*/ 1499807 w 10375356"/>
                <a:gd name="connsiteY211" fmla="*/ 7107369 h 10394676"/>
                <a:gd name="connsiteX212" fmla="*/ 1234841 w 10375356"/>
                <a:gd name="connsiteY212" fmla="*/ 6842405 h 10394676"/>
                <a:gd name="connsiteX213" fmla="*/ 1499807 w 10375356"/>
                <a:gd name="connsiteY213" fmla="*/ 6577439 h 10394676"/>
                <a:gd name="connsiteX214" fmla="*/ 8921331 w 10375356"/>
                <a:gd name="connsiteY214" fmla="*/ 5855153 h 10394676"/>
                <a:gd name="connsiteX215" fmla="*/ 8758274 w 10375356"/>
                <a:gd name="connsiteY215" fmla="*/ 6018209 h 10394676"/>
                <a:gd name="connsiteX216" fmla="*/ 8921331 w 10375356"/>
                <a:gd name="connsiteY216" fmla="*/ 6181265 h 10394676"/>
                <a:gd name="connsiteX217" fmla="*/ 9084385 w 10375356"/>
                <a:gd name="connsiteY217" fmla="*/ 6018209 h 10394676"/>
                <a:gd name="connsiteX218" fmla="*/ 8921331 w 10375356"/>
                <a:gd name="connsiteY218" fmla="*/ 5855153 h 10394676"/>
                <a:gd name="connsiteX219" fmla="*/ 674337 w 10375356"/>
                <a:gd name="connsiteY219" fmla="*/ 5855153 h 10394676"/>
                <a:gd name="connsiteX220" fmla="*/ 511282 w 10375356"/>
                <a:gd name="connsiteY220" fmla="*/ 6018209 h 10394676"/>
                <a:gd name="connsiteX221" fmla="*/ 674337 w 10375356"/>
                <a:gd name="connsiteY221" fmla="*/ 6181265 h 10394676"/>
                <a:gd name="connsiteX222" fmla="*/ 837393 w 10375356"/>
                <a:gd name="connsiteY222" fmla="*/ 6018209 h 10394676"/>
                <a:gd name="connsiteX223" fmla="*/ 674337 w 10375356"/>
                <a:gd name="connsiteY223" fmla="*/ 5855153 h 10394676"/>
                <a:gd name="connsiteX224" fmla="*/ 10375356 w 10375356"/>
                <a:gd name="connsiteY224" fmla="*/ 5854333 h 10394676"/>
                <a:gd name="connsiteX225" fmla="*/ 10334572 w 10375356"/>
                <a:gd name="connsiteY225" fmla="*/ 6121561 h 10394676"/>
                <a:gd name="connsiteX226" fmla="*/ 10334472 w 10375356"/>
                <a:gd name="connsiteY226" fmla="*/ 6121413 h 10394676"/>
                <a:gd name="connsiteX227" fmla="*/ 10313672 w 10375356"/>
                <a:gd name="connsiteY227" fmla="*/ 6018209 h 10394676"/>
                <a:gd name="connsiteX228" fmla="*/ 10334472 w 10375356"/>
                <a:gd name="connsiteY228" fmla="*/ 5915005 h 10394676"/>
                <a:gd name="connsiteX229" fmla="*/ 9694571 w 10375356"/>
                <a:gd name="connsiteY229" fmla="*/ 5763433 h 10394676"/>
                <a:gd name="connsiteX230" fmla="*/ 9796481 w 10375356"/>
                <a:gd name="connsiteY230" fmla="*/ 5763433 h 10394676"/>
                <a:gd name="connsiteX231" fmla="*/ 9796481 w 10375356"/>
                <a:gd name="connsiteY231" fmla="*/ 6274257 h 10394676"/>
                <a:gd name="connsiteX232" fmla="*/ 9694571 w 10375356"/>
                <a:gd name="connsiteY232" fmla="*/ 6274257 h 10394676"/>
                <a:gd name="connsiteX233" fmla="*/ 1447575 w 10375356"/>
                <a:gd name="connsiteY233" fmla="*/ 5763433 h 10394676"/>
                <a:gd name="connsiteX234" fmla="*/ 1549485 w 10375356"/>
                <a:gd name="connsiteY234" fmla="*/ 5763433 h 10394676"/>
                <a:gd name="connsiteX235" fmla="*/ 1549485 w 10375356"/>
                <a:gd name="connsiteY235" fmla="*/ 6274257 h 10394676"/>
                <a:gd name="connsiteX236" fmla="*/ 1447575 w 10375356"/>
                <a:gd name="connsiteY236" fmla="*/ 6274257 h 10394676"/>
                <a:gd name="connsiteX237" fmla="*/ 8922604 w 10375356"/>
                <a:gd name="connsiteY237" fmla="*/ 5753243 h 10394676"/>
                <a:gd name="connsiteX238" fmla="*/ 9187569 w 10375356"/>
                <a:gd name="connsiteY238" fmla="*/ 6018209 h 10394676"/>
                <a:gd name="connsiteX239" fmla="*/ 8922604 w 10375356"/>
                <a:gd name="connsiteY239" fmla="*/ 6283173 h 10394676"/>
                <a:gd name="connsiteX240" fmla="*/ 8657638 w 10375356"/>
                <a:gd name="connsiteY240" fmla="*/ 6018209 h 10394676"/>
                <a:gd name="connsiteX241" fmla="*/ 8922604 w 10375356"/>
                <a:gd name="connsiteY241" fmla="*/ 5753243 h 10394676"/>
                <a:gd name="connsiteX242" fmla="*/ 675610 w 10375356"/>
                <a:gd name="connsiteY242" fmla="*/ 5753243 h 10394676"/>
                <a:gd name="connsiteX243" fmla="*/ 940577 w 10375356"/>
                <a:gd name="connsiteY243" fmla="*/ 6018209 h 10394676"/>
                <a:gd name="connsiteX244" fmla="*/ 675610 w 10375356"/>
                <a:gd name="connsiteY244" fmla="*/ 6283173 h 10394676"/>
                <a:gd name="connsiteX245" fmla="*/ 410646 w 10375356"/>
                <a:gd name="connsiteY245" fmla="*/ 6018209 h 10394676"/>
                <a:gd name="connsiteX246" fmla="*/ 675610 w 10375356"/>
                <a:gd name="connsiteY246" fmla="*/ 5753243 h 10394676"/>
                <a:gd name="connsiteX247" fmla="*/ 9489477 w 10375356"/>
                <a:gd name="connsiteY247" fmla="*/ 5143057 h 10394676"/>
                <a:gd name="connsiteX248" fmla="*/ 10000300 w 10375356"/>
                <a:gd name="connsiteY248" fmla="*/ 5143057 h 10394676"/>
                <a:gd name="connsiteX249" fmla="*/ 10000300 w 10375356"/>
                <a:gd name="connsiteY249" fmla="*/ 5244969 h 10394676"/>
                <a:gd name="connsiteX250" fmla="*/ 9489477 w 10375356"/>
                <a:gd name="connsiteY250" fmla="*/ 5244969 h 10394676"/>
                <a:gd name="connsiteX251" fmla="*/ 8706634 w 10375356"/>
                <a:gd name="connsiteY251" fmla="*/ 5143057 h 10394676"/>
                <a:gd name="connsiteX252" fmla="*/ 9176104 w 10375356"/>
                <a:gd name="connsiteY252" fmla="*/ 5143057 h 10394676"/>
                <a:gd name="connsiteX253" fmla="*/ 9176104 w 10375356"/>
                <a:gd name="connsiteY253" fmla="*/ 5244969 h 10394676"/>
                <a:gd name="connsiteX254" fmla="*/ 8707060 w 10375356"/>
                <a:gd name="connsiteY254" fmla="*/ 5244969 h 10394676"/>
                <a:gd name="connsiteX255" fmla="*/ 8709420 w 10375356"/>
                <a:gd name="connsiteY255" fmla="*/ 5198237 h 10394676"/>
                <a:gd name="connsiteX256" fmla="*/ 1242485 w 10375356"/>
                <a:gd name="connsiteY256" fmla="*/ 5143057 h 10394676"/>
                <a:gd name="connsiteX257" fmla="*/ 1714449 w 10375356"/>
                <a:gd name="connsiteY257" fmla="*/ 5143057 h 10394676"/>
                <a:gd name="connsiteX258" fmla="*/ 1711662 w 10375356"/>
                <a:gd name="connsiteY258" fmla="*/ 5198237 h 10394676"/>
                <a:gd name="connsiteX259" fmla="*/ 1714022 w 10375356"/>
                <a:gd name="connsiteY259" fmla="*/ 5244969 h 10394676"/>
                <a:gd name="connsiteX260" fmla="*/ 1242485 w 10375356"/>
                <a:gd name="connsiteY260" fmla="*/ 5244969 h 10394676"/>
                <a:gd name="connsiteX261" fmla="*/ 2787 w 10375356"/>
                <a:gd name="connsiteY261" fmla="*/ 5143057 h 10394676"/>
                <a:gd name="connsiteX262" fmla="*/ 97302 w 10375356"/>
                <a:gd name="connsiteY262" fmla="*/ 5143057 h 10394676"/>
                <a:gd name="connsiteX263" fmla="*/ 97302 w 10375356"/>
                <a:gd name="connsiteY263" fmla="*/ 5244969 h 10394676"/>
                <a:gd name="connsiteX264" fmla="*/ 2360 w 10375356"/>
                <a:gd name="connsiteY264" fmla="*/ 5244969 h 10394676"/>
                <a:gd name="connsiteX265" fmla="*/ 0 w 10375356"/>
                <a:gd name="connsiteY265" fmla="*/ 5198237 h 10394676"/>
                <a:gd name="connsiteX266" fmla="*/ 623389 w 10375356"/>
                <a:gd name="connsiteY266" fmla="*/ 4939239 h 10394676"/>
                <a:gd name="connsiteX267" fmla="*/ 725299 w 10375356"/>
                <a:gd name="connsiteY267" fmla="*/ 4939239 h 10394676"/>
                <a:gd name="connsiteX268" fmla="*/ 725299 w 10375356"/>
                <a:gd name="connsiteY268" fmla="*/ 5450061 h 10394676"/>
                <a:gd name="connsiteX269" fmla="*/ 623389 w 10375356"/>
                <a:gd name="connsiteY269" fmla="*/ 5450061 h 10394676"/>
                <a:gd name="connsiteX270" fmla="*/ 86723 w 10375356"/>
                <a:gd name="connsiteY270" fmla="*/ 4273524 h 10394676"/>
                <a:gd name="connsiteX271" fmla="*/ 106218 w 10375356"/>
                <a:gd name="connsiteY271" fmla="*/ 4371093 h 10394676"/>
                <a:gd name="connsiteX272" fmla="*/ 85418 w 10375356"/>
                <a:gd name="connsiteY272" fmla="*/ 4474296 h 10394676"/>
                <a:gd name="connsiteX273" fmla="*/ 47492 w 10375356"/>
                <a:gd name="connsiteY273" fmla="*/ 4530579 h 10394676"/>
                <a:gd name="connsiteX274" fmla="*/ 9745526 w 10375356"/>
                <a:gd name="connsiteY274" fmla="*/ 4208037 h 10394676"/>
                <a:gd name="connsiteX275" fmla="*/ 9582469 w 10375356"/>
                <a:gd name="connsiteY275" fmla="*/ 4371093 h 10394676"/>
                <a:gd name="connsiteX276" fmla="*/ 9745526 w 10375356"/>
                <a:gd name="connsiteY276" fmla="*/ 4534147 h 10394676"/>
                <a:gd name="connsiteX277" fmla="*/ 9908582 w 10375356"/>
                <a:gd name="connsiteY277" fmla="*/ 4371093 h 10394676"/>
                <a:gd name="connsiteX278" fmla="*/ 9745526 w 10375356"/>
                <a:gd name="connsiteY278" fmla="*/ 4208037 h 10394676"/>
                <a:gd name="connsiteX279" fmla="*/ 1498539 w 10375356"/>
                <a:gd name="connsiteY279" fmla="*/ 4208037 h 10394676"/>
                <a:gd name="connsiteX280" fmla="*/ 1335482 w 10375356"/>
                <a:gd name="connsiteY280" fmla="*/ 4371093 h 10394676"/>
                <a:gd name="connsiteX281" fmla="*/ 1498539 w 10375356"/>
                <a:gd name="connsiteY281" fmla="*/ 4534147 h 10394676"/>
                <a:gd name="connsiteX282" fmla="*/ 1661593 w 10375356"/>
                <a:gd name="connsiteY282" fmla="*/ 4371093 h 10394676"/>
                <a:gd name="connsiteX283" fmla="*/ 1498539 w 10375356"/>
                <a:gd name="connsiteY283" fmla="*/ 4208037 h 10394676"/>
                <a:gd name="connsiteX284" fmla="*/ 8870376 w 10375356"/>
                <a:gd name="connsiteY284" fmla="*/ 4115043 h 10394676"/>
                <a:gd name="connsiteX285" fmla="*/ 8972285 w 10375356"/>
                <a:gd name="connsiteY285" fmla="*/ 4115043 h 10394676"/>
                <a:gd name="connsiteX286" fmla="*/ 8972285 w 10375356"/>
                <a:gd name="connsiteY286" fmla="*/ 4625865 h 10394676"/>
                <a:gd name="connsiteX287" fmla="*/ 8870376 w 10375356"/>
                <a:gd name="connsiteY287" fmla="*/ 4625865 h 10394676"/>
                <a:gd name="connsiteX288" fmla="*/ 623387 w 10375356"/>
                <a:gd name="connsiteY288" fmla="*/ 4115043 h 10394676"/>
                <a:gd name="connsiteX289" fmla="*/ 725297 w 10375356"/>
                <a:gd name="connsiteY289" fmla="*/ 4115043 h 10394676"/>
                <a:gd name="connsiteX290" fmla="*/ 725297 w 10375356"/>
                <a:gd name="connsiteY290" fmla="*/ 4625865 h 10394676"/>
                <a:gd name="connsiteX291" fmla="*/ 623387 w 10375356"/>
                <a:gd name="connsiteY291" fmla="*/ 4625865 h 10394676"/>
                <a:gd name="connsiteX292" fmla="*/ 9744252 w 10375356"/>
                <a:gd name="connsiteY292" fmla="*/ 4106125 h 10394676"/>
                <a:gd name="connsiteX293" fmla="*/ 10009217 w 10375356"/>
                <a:gd name="connsiteY293" fmla="*/ 4371093 h 10394676"/>
                <a:gd name="connsiteX294" fmla="*/ 9744252 w 10375356"/>
                <a:gd name="connsiteY294" fmla="*/ 4636057 h 10394676"/>
                <a:gd name="connsiteX295" fmla="*/ 9479286 w 10375356"/>
                <a:gd name="connsiteY295" fmla="*/ 4371093 h 10394676"/>
                <a:gd name="connsiteX296" fmla="*/ 9744252 w 10375356"/>
                <a:gd name="connsiteY296" fmla="*/ 4106125 h 10394676"/>
                <a:gd name="connsiteX297" fmla="*/ 1499812 w 10375356"/>
                <a:gd name="connsiteY297" fmla="*/ 4106125 h 10394676"/>
                <a:gd name="connsiteX298" fmla="*/ 1764778 w 10375356"/>
                <a:gd name="connsiteY298" fmla="*/ 4371093 h 10394676"/>
                <a:gd name="connsiteX299" fmla="*/ 1499812 w 10375356"/>
                <a:gd name="connsiteY299" fmla="*/ 4636057 h 10394676"/>
                <a:gd name="connsiteX300" fmla="*/ 1234846 w 10375356"/>
                <a:gd name="connsiteY300" fmla="*/ 4371093 h 10394676"/>
                <a:gd name="connsiteX301" fmla="*/ 1499812 w 10375356"/>
                <a:gd name="connsiteY301" fmla="*/ 4106125 h 10394676"/>
                <a:gd name="connsiteX302" fmla="*/ 9489477 w 10375356"/>
                <a:gd name="connsiteY302" fmla="*/ 3495941 h 10394676"/>
                <a:gd name="connsiteX303" fmla="*/ 10000300 w 10375356"/>
                <a:gd name="connsiteY303" fmla="*/ 3495941 h 10394676"/>
                <a:gd name="connsiteX304" fmla="*/ 10000300 w 10375356"/>
                <a:gd name="connsiteY304" fmla="*/ 3597851 h 10394676"/>
                <a:gd name="connsiteX305" fmla="*/ 9489477 w 10375356"/>
                <a:gd name="connsiteY305" fmla="*/ 3597851 h 10394676"/>
                <a:gd name="connsiteX306" fmla="*/ 2066685 w 10375356"/>
                <a:gd name="connsiteY306" fmla="*/ 3495941 h 10394676"/>
                <a:gd name="connsiteX307" fmla="*/ 2154931 w 10375356"/>
                <a:gd name="connsiteY307" fmla="*/ 3495941 h 10394676"/>
                <a:gd name="connsiteX308" fmla="*/ 2133958 w 10375356"/>
                <a:gd name="connsiteY308" fmla="*/ 3530464 h 10394676"/>
                <a:gd name="connsiteX309" fmla="*/ 2101496 w 10375356"/>
                <a:gd name="connsiteY309" fmla="*/ 3597851 h 10394676"/>
                <a:gd name="connsiteX310" fmla="*/ 2066685 w 10375356"/>
                <a:gd name="connsiteY310" fmla="*/ 3597851 h 10394676"/>
                <a:gd name="connsiteX311" fmla="*/ 674343 w 10375356"/>
                <a:gd name="connsiteY311" fmla="*/ 3383841 h 10394676"/>
                <a:gd name="connsiteX312" fmla="*/ 511289 w 10375356"/>
                <a:gd name="connsiteY312" fmla="*/ 3546897 h 10394676"/>
                <a:gd name="connsiteX313" fmla="*/ 674343 w 10375356"/>
                <a:gd name="connsiteY313" fmla="*/ 3709953 h 10394676"/>
                <a:gd name="connsiteX314" fmla="*/ 837399 w 10375356"/>
                <a:gd name="connsiteY314" fmla="*/ 3546897 h 10394676"/>
                <a:gd name="connsiteX315" fmla="*/ 674343 w 10375356"/>
                <a:gd name="connsiteY315" fmla="*/ 3383841 h 10394676"/>
                <a:gd name="connsiteX316" fmla="*/ 8870376 w 10375356"/>
                <a:gd name="connsiteY316" fmla="*/ 3292121 h 10394676"/>
                <a:gd name="connsiteX317" fmla="*/ 8972285 w 10375356"/>
                <a:gd name="connsiteY317" fmla="*/ 3292121 h 10394676"/>
                <a:gd name="connsiteX318" fmla="*/ 8972285 w 10375356"/>
                <a:gd name="connsiteY318" fmla="*/ 3802945 h 10394676"/>
                <a:gd name="connsiteX319" fmla="*/ 8870376 w 10375356"/>
                <a:gd name="connsiteY319" fmla="*/ 3802945 h 10394676"/>
                <a:gd name="connsiteX320" fmla="*/ 8142327 w 10375356"/>
                <a:gd name="connsiteY320" fmla="*/ 3292121 h 10394676"/>
                <a:gd name="connsiteX321" fmla="*/ 8148089 w 10375356"/>
                <a:gd name="connsiteY321" fmla="*/ 3292121 h 10394676"/>
                <a:gd name="connsiteX322" fmla="*/ 8148089 w 10375356"/>
                <a:gd name="connsiteY322" fmla="*/ 3301606 h 10394676"/>
                <a:gd name="connsiteX323" fmla="*/ 1447583 w 10375356"/>
                <a:gd name="connsiteY323" fmla="*/ 3292121 h 10394676"/>
                <a:gd name="connsiteX324" fmla="*/ 1549493 w 10375356"/>
                <a:gd name="connsiteY324" fmla="*/ 3292121 h 10394676"/>
                <a:gd name="connsiteX325" fmla="*/ 1549493 w 10375356"/>
                <a:gd name="connsiteY325" fmla="*/ 3802945 h 10394676"/>
                <a:gd name="connsiteX326" fmla="*/ 1447583 w 10375356"/>
                <a:gd name="connsiteY326" fmla="*/ 3802945 h 10394676"/>
                <a:gd name="connsiteX327" fmla="*/ 675617 w 10375356"/>
                <a:gd name="connsiteY327" fmla="*/ 3281931 h 10394676"/>
                <a:gd name="connsiteX328" fmla="*/ 940583 w 10375356"/>
                <a:gd name="connsiteY328" fmla="*/ 3546897 h 10394676"/>
                <a:gd name="connsiteX329" fmla="*/ 675617 w 10375356"/>
                <a:gd name="connsiteY329" fmla="*/ 3811861 h 10394676"/>
                <a:gd name="connsiteX330" fmla="*/ 410652 w 10375356"/>
                <a:gd name="connsiteY330" fmla="*/ 3546897 h 10394676"/>
                <a:gd name="connsiteX331" fmla="*/ 675617 w 10375356"/>
                <a:gd name="connsiteY331" fmla="*/ 3281931 h 10394676"/>
                <a:gd name="connsiteX332" fmla="*/ 1242482 w 10375356"/>
                <a:gd name="connsiteY332" fmla="*/ 2671745 h 10394676"/>
                <a:gd name="connsiteX333" fmla="*/ 1753305 w 10375356"/>
                <a:gd name="connsiteY333" fmla="*/ 2671745 h 10394676"/>
                <a:gd name="connsiteX334" fmla="*/ 1753305 w 10375356"/>
                <a:gd name="connsiteY334" fmla="*/ 2773657 h 10394676"/>
                <a:gd name="connsiteX335" fmla="*/ 1242482 w 10375356"/>
                <a:gd name="connsiteY335" fmla="*/ 2773657 h 10394676"/>
                <a:gd name="connsiteX336" fmla="*/ 8921331 w 10375356"/>
                <a:gd name="connsiteY336" fmla="*/ 2560919 h 10394676"/>
                <a:gd name="connsiteX337" fmla="*/ 8758275 w 10375356"/>
                <a:gd name="connsiteY337" fmla="*/ 2723975 h 10394676"/>
                <a:gd name="connsiteX338" fmla="*/ 8921331 w 10375356"/>
                <a:gd name="connsiteY338" fmla="*/ 2887029 h 10394676"/>
                <a:gd name="connsiteX339" fmla="*/ 9084386 w 10375356"/>
                <a:gd name="connsiteY339" fmla="*/ 2723975 h 10394676"/>
                <a:gd name="connsiteX340" fmla="*/ 8921331 w 10375356"/>
                <a:gd name="connsiteY340" fmla="*/ 2560919 h 10394676"/>
                <a:gd name="connsiteX341" fmla="*/ 2322726 w 10375356"/>
                <a:gd name="connsiteY341" fmla="*/ 2560919 h 10394676"/>
                <a:gd name="connsiteX342" fmla="*/ 2159671 w 10375356"/>
                <a:gd name="connsiteY342" fmla="*/ 2723975 h 10394676"/>
                <a:gd name="connsiteX343" fmla="*/ 2322726 w 10375356"/>
                <a:gd name="connsiteY343" fmla="*/ 2887029 h 10394676"/>
                <a:gd name="connsiteX344" fmla="*/ 2485782 w 10375356"/>
                <a:gd name="connsiteY344" fmla="*/ 2723975 h 10394676"/>
                <a:gd name="connsiteX345" fmla="*/ 2322726 w 10375356"/>
                <a:gd name="connsiteY345" fmla="*/ 2560919 h 10394676"/>
                <a:gd name="connsiteX346" fmla="*/ 9694571 w 10375356"/>
                <a:gd name="connsiteY346" fmla="*/ 2553886 h 10394676"/>
                <a:gd name="connsiteX347" fmla="*/ 9792198 w 10375356"/>
                <a:gd name="connsiteY347" fmla="*/ 2714584 h 10394676"/>
                <a:gd name="connsiteX348" fmla="*/ 9796481 w 10375356"/>
                <a:gd name="connsiteY348" fmla="*/ 2723476 h 10394676"/>
                <a:gd name="connsiteX349" fmla="*/ 9796481 w 10375356"/>
                <a:gd name="connsiteY349" fmla="*/ 2978749 h 10394676"/>
                <a:gd name="connsiteX350" fmla="*/ 9694571 w 10375356"/>
                <a:gd name="connsiteY350" fmla="*/ 2978749 h 10394676"/>
                <a:gd name="connsiteX351" fmla="*/ 772671 w 10375356"/>
                <a:gd name="connsiteY351" fmla="*/ 2477905 h 10394676"/>
                <a:gd name="connsiteX352" fmla="*/ 778813 w 10375356"/>
                <a:gd name="connsiteY352" fmla="*/ 2479809 h 10394676"/>
                <a:gd name="connsiteX353" fmla="*/ 940575 w 10375356"/>
                <a:gd name="connsiteY353" fmla="*/ 2723975 h 10394676"/>
                <a:gd name="connsiteX354" fmla="*/ 675608 w 10375356"/>
                <a:gd name="connsiteY354" fmla="*/ 2988941 h 10394676"/>
                <a:gd name="connsiteX355" fmla="*/ 527394 w 10375356"/>
                <a:gd name="connsiteY355" fmla="*/ 2942835 h 10394676"/>
                <a:gd name="connsiteX356" fmla="*/ 521341 w 10375356"/>
                <a:gd name="connsiteY356" fmla="*/ 2937832 h 10394676"/>
                <a:gd name="connsiteX357" fmla="*/ 566336 w 10375356"/>
                <a:gd name="connsiteY357" fmla="*/ 2844427 h 10394676"/>
                <a:gd name="connsiteX358" fmla="*/ 610701 w 10375356"/>
                <a:gd name="connsiteY358" fmla="*/ 2874271 h 10394676"/>
                <a:gd name="connsiteX359" fmla="*/ 674334 w 10375356"/>
                <a:gd name="connsiteY359" fmla="*/ 2887029 h 10394676"/>
                <a:gd name="connsiteX360" fmla="*/ 837390 w 10375356"/>
                <a:gd name="connsiteY360" fmla="*/ 2723975 h 10394676"/>
                <a:gd name="connsiteX361" fmla="*/ 737968 w 10375356"/>
                <a:gd name="connsiteY361" fmla="*/ 2573678 h 10394676"/>
                <a:gd name="connsiteX362" fmla="*/ 717037 w 10375356"/>
                <a:gd name="connsiteY362" fmla="*/ 2569481 h 10394676"/>
                <a:gd name="connsiteX363" fmla="*/ 8046180 w 10375356"/>
                <a:gd name="connsiteY363" fmla="*/ 2467925 h 10394676"/>
                <a:gd name="connsiteX364" fmla="*/ 8148089 w 10375356"/>
                <a:gd name="connsiteY364" fmla="*/ 2467925 h 10394676"/>
                <a:gd name="connsiteX365" fmla="*/ 8148089 w 10375356"/>
                <a:gd name="connsiteY365" fmla="*/ 2978749 h 10394676"/>
                <a:gd name="connsiteX366" fmla="*/ 8046180 w 10375356"/>
                <a:gd name="connsiteY366" fmla="*/ 2978749 h 10394676"/>
                <a:gd name="connsiteX367" fmla="*/ 8921331 w 10375356"/>
                <a:gd name="connsiteY367" fmla="*/ 2459009 h 10394676"/>
                <a:gd name="connsiteX368" fmla="*/ 9186296 w 10375356"/>
                <a:gd name="connsiteY368" fmla="*/ 2723975 h 10394676"/>
                <a:gd name="connsiteX369" fmla="*/ 8921331 w 10375356"/>
                <a:gd name="connsiteY369" fmla="*/ 2988941 h 10394676"/>
                <a:gd name="connsiteX370" fmla="*/ 8656365 w 10375356"/>
                <a:gd name="connsiteY370" fmla="*/ 2723975 h 10394676"/>
                <a:gd name="connsiteX371" fmla="*/ 8921331 w 10375356"/>
                <a:gd name="connsiteY371" fmla="*/ 2459009 h 10394676"/>
                <a:gd name="connsiteX372" fmla="*/ 2322726 w 10375356"/>
                <a:gd name="connsiteY372" fmla="*/ 2459009 h 10394676"/>
                <a:gd name="connsiteX373" fmla="*/ 2587692 w 10375356"/>
                <a:gd name="connsiteY373" fmla="*/ 2723975 h 10394676"/>
                <a:gd name="connsiteX374" fmla="*/ 2322726 w 10375356"/>
                <a:gd name="connsiteY374" fmla="*/ 2988941 h 10394676"/>
                <a:gd name="connsiteX375" fmla="*/ 2057761 w 10375356"/>
                <a:gd name="connsiteY375" fmla="*/ 2723975 h 10394676"/>
                <a:gd name="connsiteX376" fmla="*/ 2322726 w 10375356"/>
                <a:gd name="connsiteY376" fmla="*/ 2459009 h 10394676"/>
                <a:gd name="connsiteX377" fmla="*/ 7842360 w 10375356"/>
                <a:gd name="connsiteY377" fmla="*/ 1848825 h 10394676"/>
                <a:gd name="connsiteX378" fmla="*/ 8353182 w 10375356"/>
                <a:gd name="connsiteY378" fmla="*/ 1848825 h 10394676"/>
                <a:gd name="connsiteX379" fmla="*/ 8353182 w 10375356"/>
                <a:gd name="connsiteY379" fmla="*/ 1950733 h 10394676"/>
                <a:gd name="connsiteX380" fmla="*/ 7842360 w 10375356"/>
                <a:gd name="connsiteY380" fmla="*/ 1950733 h 10394676"/>
                <a:gd name="connsiteX381" fmla="*/ 6223404 w 10375356"/>
                <a:gd name="connsiteY381" fmla="*/ 1848825 h 10394676"/>
                <a:gd name="connsiteX382" fmla="*/ 6704792 w 10375356"/>
                <a:gd name="connsiteY382" fmla="*/ 1848825 h 10394676"/>
                <a:gd name="connsiteX383" fmla="*/ 6704792 w 10375356"/>
                <a:gd name="connsiteY383" fmla="*/ 1950733 h 10394676"/>
                <a:gd name="connsiteX384" fmla="*/ 6512646 w 10375356"/>
                <a:gd name="connsiteY384" fmla="*/ 1950733 h 10394676"/>
                <a:gd name="connsiteX385" fmla="*/ 6413573 w 10375356"/>
                <a:gd name="connsiteY385" fmla="*/ 1911670 h 10394676"/>
                <a:gd name="connsiteX386" fmla="*/ 6251001 w 10375356"/>
                <a:gd name="connsiteY386" fmla="*/ 1856662 h 10394676"/>
                <a:gd name="connsiteX387" fmla="*/ 2890884 w 10375356"/>
                <a:gd name="connsiteY387" fmla="*/ 1848825 h 10394676"/>
                <a:gd name="connsiteX388" fmla="*/ 3401707 w 10375356"/>
                <a:gd name="connsiteY388" fmla="*/ 1848825 h 10394676"/>
                <a:gd name="connsiteX389" fmla="*/ 3401707 w 10375356"/>
                <a:gd name="connsiteY389" fmla="*/ 1950733 h 10394676"/>
                <a:gd name="connsiteX390" fmla="*/ 2890884 w 10375356"/>
                <a:gd name="connsiteY390" fmla="*/ 1950733 h 10394676"/>
                <a:gd name="connsiteX391" fmla="*/ 1242493 w 10375356"/>
                <a:gd name="connsiteY391" fmla="*/ 1848825 h 10394676"/>
                <a:gd name="connsiteX392" fmla="*/ 1753316 w 10375356"/>
                <a:gd name="connsiteY392" fmla="*/ 1848825 h 10394676"/>
                <a:gd name="connsiteX393" fmla="*/ 1753316 w 10375356"/>
                <a:gd name="connsiteY393" fmla="*/ 1950733 h 10394676"/>
                <a:gd name="connsiteX394" fmla="*/ 1242493 w 10375356"/>
                <a:gd name="connsiteY394" fmla="*/ 1950733 h 10394676"/>
                <a:gd name="connsiteX395" fmla="*/ 8921331 w 10375356"/>
                <a:gd name="connsiteY395" fmla="*/ 1736725 h 10394676"/>
                <a:gd name="connsiteX396" fmla="*/ 8758275 w 10375356"/>
                <a:gd name="connsiteY396" fmla="*/ 1899781 h 10394676"/>
                <a:gd name="connsiteX397" fmla="*/ 8921331 w 10375356"/>
                <a:gd name="connsiteY397" fmla="*/ 2062835 h 10394676"/>
                <a:gd name="connsiteX398" fmla="*/ 9084386 w 10375356"/>
                <a:gd name="connsiteY398" fmla="*/ 1899781 h 10394676"/>
                <a:gd name="connsiteX399" fmla="*/ 8921331 w 10375356"/>
                <a:gd name="connsiteY399" fmla="*/ 1736725 h 10394676"/>
                <a:gd name="connsiteX400" fmla="*/ 7223258 w 10375356"/>
                <a:gd name="connsiteY400" fmla="*/ 1643731 h 10394676"/>
                <a:gd name="connsiteX401" fmla="*/ 7325168 w 10375356"/>
                <a:gd name="connsiteY401" fmla="*/ 1643731 h 10394676"/>
                <a:gd name="connsiteX402" fmla="*/ 7325168 w 10375356"/>
                <a:gd name="connsiteY402" fmla="*/ 2154553 h 10394676"/>
                <a:gd name="connsiteX403" fmla="*/ 7223258 w 10375356"/>
                <a:gd name="connsiteY403" fmla="*/ 2154553 h 10394676"/>
                <a:gd name="connsiteX404" fmla="*/ 2271782 w 10375356"/>
                <a:gd name="connsiteY404" fmla="*/ 1643731 h 10394676"/>
                <a:gd name="connsiteX405" fmla="*/ 2373691 w 10375356"/>
                <a:gd name="connsiteY405" fmla="*/ 1643731 h 10394676"/>
                <a:gd name="connsiteX406" fmla="*/ 2373691 w 10375356"/>
                <a:gd name="connsiteY406" fmla="*/ 2154553 h 10394676"/>
                <a:gd name="connsiteX407" fmla="*/ 2271782 w 10375356"/>
                <a:gd name="connsiteY407" fmla="*/ 2154553 h 10394676"/>
                <a:gd name="connsiteX408" fmla="*/ 8921331 w 10375356"/>
                <a:gd name="connsiteY408" fmla="*/ 1634813 h 10394676"/>
                <a:gd name="connsiteX409" fmla="*/ 9024534 w 10375356"/>
                <a:gd name="connsiteY409" fmla="*/ 1655614 h 10394676"/>
                <a:gd name="connsiteX410" fmla="*/ 9036119 w 10375356"/>
                <a:gd name="connsiteY410" fmla="*/ 1661896 h 10394676"/>
                <a:gd name="connsiteX411" fmla="*/ 9067478 w 10375356"/>
                <a:gd name="connsiteY411" fmla="*/ 1694788 h 10394676"/>
                <a:gd name="connsiteX412" fmla="*/ 9168482 w 10375356"/>
                <a:gd name="connsiteY412" fmla="*/ 1811390 h 10394676"/>
                <a:gd name="connsiteX413" fmla="*/ 9186296 w 10375356"/>
                <a:gd name="connsiteY413" fmla="*/ 1899781 h 10394676"/>
                <a:gd name="connsiteX414" fmla="*/ 8921331 w 10375356"/>
                <a:gd name="connsiteY414" fmla="*/ 2164745 h 10394676"/>
                <a:gd name="connsiteX415" fmla="*/ 8656365 w 10375356"/>
                <a:gd name="connsiteY415" fmla="*/ 1899781 h 10394676"/>
                <a:gd name="connsiteX416" fmla="*/ 8921331 w 10375356"/>
                <a:gd name="connsiteY416" fmla="*/ 1634813 h 10394676"/>
                <a:gd name="connsiteX417" fmla="*/ 3969851 w 10375356"/>
                <a:gd name="connsiteY417" fmla="*/ 1634813 h 10394676"/>
                <a:gd name="connsiteX418" fmla="*/ 4214017 w 10375356"/>
                <a:gd name="connsiteY418" fmla="*/ 1796577 h 10394676"/>
                <a:gd name="connsiteX419" fmla="*/ 4223093 w 10375356"/>
                <a:gd name="connsiteY419" fmla="*/ 1841608 h 10394676"/>
                <a:gd name="connsiteX420" fmla="*/ 4170081 w 10375356"/>
                <a:gd name="connsiteY420" fmla="*/ 1856662 h 10394676"/>
                <a:gd name="connsiteX421" fmla="*/ 4127174 w 10375356"/>
                <a:gd name="connsiteY421" fmla="*/ 1871180 h 10394676"/>
                <a:gd name="connsiteX422" fmla="*/ 4120150 w 10375356"/>
                <a:gd name="connsiteY422" fmla="*/ 1836147 h 10394676"/>
                <a:gd name="connsiteX423" fmla="*/ 3969851 w 10375356"/>
                <a:gd name="connsiteY423" fmla="*/ 1736725 h 10394676"/>
                <a:gd name="connsiteX424" fmla="*/ 3806796 w 10375356"/>
                <a:gd name="connsiteY424" fmla="*/ 1899781 h 10394676"/>
                <a:gd name="connsiteX425" fmla="*/ 3819555 w 10375356"/>
                <a:gd name="connsiteY425" fmla="*/ 1963414 h 10394676"/>
                <a:gd name="connsiteX426" fmla="*/ 3832208 w 10375356"/>
                <a:gd name="connsiteY426" fmla="*/ 1982224 h 10394676"/>
                <a:gd name="connsiteX427" fmla="*/ 3741230 w 10375356"/>
                <a:gd name="connsiteY427" fmla="*/ 2026051 h 10394676"/>
                <a:gd name="connsiteX428" fmla="*/ 3725686 w 10375356"/>
                <a:gd name="connsiteY428" fmla="*/ 2002984 h 10394676"/>
                <a:gd name="connsiteX429" fmla="*/ 3704886 w 10375356"/>
                <a:gd name="connsiteY429" fmla="*/ 1899781 h 10394676"/>
                <a:gd name="connsiteX430" fmla="*/ 3969851 w 10375356"/>
                <a:gd name="connsiteY430" fmla="*/ 1634813 h 10394676"/>
                <a:gd name="connsiteX431" fmla="*/ 7842360 w 10375356"/>
                <a:gd name="connsiteY431" fmla="*/ 1024629 h 10394676"/>
                <a:gd name="connsiteX432" fmla="*/ 8330359 w 10375356"/>
                <a:gd name="connsiteY432" fmla="*/ 1024629 h 10394676"/>
                <a:gd name="connsiteX433" fmla="*/ 8353182 w 10375356"/>
                <a:gd name="connsiteY433" fmla="*/ 1042565 h 10394676"/>
                <a:gd name="connsiteX434" fmla="*/ 8353182 w 10375356"/>
                <a:gd name="connsiteY434" fmla="*/ 1126539 h 10394676"/>
                <a:gd name="connsiteX435" fmla="*/ 7842360 w 10375356"/>
                <a:gd name="connsiteY435" fmla="*/ 1126539 h 10394676"/>
                <a:gd name="connsiteX436" fmla="*/ 5371048 w 10375356"/>
                <a:gd name="connsiteY436" fmla="*/ 1024629 h 10394676"/>
                <a:gd name="connsiteX437" fmla="*/ 5881870 w 10375356"/>
                <a:gd name="connsiteY437" fmla="*/ 1024629 h 10394676"/>
                <a:gd name="connsiteX438" fmla="*/ 5881870 w 10375356"/>
                <a:gd name="connsiteY438" fmla="*/ 1126539 h 10394676"/>
                <a:gd name="connsiteX439" fmla="*/ 5371048 w 10375356"/>
                <a:gd name="connsiteY439" fmla="*/ 1126539 h 10394676"/>
                <a:gd name="connsiteX440" fmla="*/ 4538001 w 10375356"/>
                <a:gd name="connsiteY440" fmla="*/ 1024629 h 10394676"/>
                <a:gd name="connsiteX441" fmla="*/ 5048825 w 10375356"/>
                <a:gd name="connsiteY441" fmla="*/ 1024629 h 10394676"/>
                <a:gd name="connsiteX442" fmla="*/ 5048825 w 10375356"/>
                <a:gd name="connsiteY442" fmla="*/ 1126539 h 10394676"/>
                <a:gd name="connsiteX443" fmla="*/ 4538001 w 10375356"/>
                <a:gd name="connsiteY443" fmla="*/ 1126539 h 10394676"/>
                <a:gd name="connsiteX444" fmla="*/ 2890886 w 10375356"/>
                <a:gd name="connsiteY444" fmla="*/ 1024629 h 10394676"/>
                <a:gd name="connsiteX445" fmla="*/ 3401709 w 10375356"/>
                <a:gd name="connsiteY445" fmla="*/ 1024629 h 10394676"/>
                <a:gd name="connsiteX446" fmla="*/ 3401709 w 10375356"/>
                <a:gd name="connsiteY446" fmla="*/ 1126539 h 10394676"/>
                <a:gd name="connsiteX447" fmla="*/ 2890886 w 10375356"/>
                <a:gd name="connsiteY447" fmla="*/ 1126539 h 10394676"/>
                <a:gd name="connsiteX448" fmla="*/ 6450017 w 10375356"/>
                <a:gd name="connsiteY448" fmla="*/ 912529 h 10394676"/>
                <a:gd name="connsiteX449" fmla="*/ 6286962 w 10375356"/>
                <a:gd name="connsiteY449" fmla="*/ 1075585 h 10394676"/>
                <a:gd name="connsiteX450" fmla="*/ 6450017 w 10375356"/>
                <a:gd name="connsiteY450" fmla="*/ 1238639 h 10394676"/>
                <a:gd name="connsiteX451" fmla="*/ 6613073 w 10375356"/>
                <a:gd name="connsiteY451" fmla="*/ 1075585 h 10394676"/>
                <a:gd name="connsiteX452" fmla="*/ 6450017 w 10375356"/>
                <a:gd name="connsiteY452" fmla="*/ 912529 h 10394676"/>
                <a:gd name="connsiteX453" fmla="*/ 2373692 w 10375356"/>
                <a:gd name="connsiteY453" fmla="*/ 828587 h 10394676"/>
                <a:gd name="connsiteX454" fmla="*/ 2373692 w 10375356"/>
                <a:gd name="connsiteY454" fmla="*/ 1331633 h 10394676"/>
                <a:gd name="connsiteX455" fmla="*/ 2271782 w 10375356"/>
                <a:gd name="connsiteY455" fmla="*/ 1331633 h 10394676"/>
                <a:gd name="connsiteX456" fmla="*/ 2271782 w 10375356"/>
                <a:gd name="connsiteY456" fmla="*/ 895706 h 10394676"/>
                <a:gd name="connsiteX457" fmla="*/ 2297278 w 10375356"/>
                <a:gd name="connsiteY457" fmla="*/ 877575 h 10394676"/>
                <a:gd name="connsiteX458" fmla="*/ 7223258 w 10375356"/>
                <a:gd name="connsiteY458" fmla="*/ 820809 h 10394676"/>
                <a:gd name="connsiteX459" fmla="*/ 7325168 w 10375356"/>
                <a:gd name="connsiteY459" fmla="*/ 820809 h 10394676"/>
                <a:gd name="connsiteX460" fmla="*/ 7325168 w 10375356"/>
                <a:gd name="connsiteY460" fmla="*/ 1331633 h 10394676"/>
                <a:gd name="connsiteX461" fmla="*/ 7223258 w 10375356"/>
                <a:gd name="connsiteY461" fmla="*/ 1331633 h 10394676"/>
                <a:gd name="connsiteX462" fmla="*/ 3918899 w 10375356"/>
                <a:gd name="connsiteY462" fmla="*/ 820809 h 10394676"/>
                <a:gd name="connsiteX463" fmla="*/ 4020808 w 10375356"/>
                <a:gd name="connsiteY463" fmla="*/ 820809 h 10394676"/>
                <a:gd name="connsiteX464" fmla="*/ 4020808 w 10375356"/>
                <a:gd name="connsiteY464" fmla="*/ 1331633 h 10394676"/>
                <a:gd name="connsiteX465" fmla="*/ 3918899 w 10375356"/>
                <a:gd name="connsiteY465" fmla="*/ 1331633 h 10394676"/>
                <a:gd name="connsiteX466" fmla="*/ 6451292 w 10375356"/>
                <a:gd name="connsiteY466" fmla="*/ 810617 h 10394676"/>
                <a:gd name="connsiteX467" fmla="*/ 6716257 w 10375356"/>
                <a:gd name="connsiteY467" fmla="*/ 1075585 h 10394676"/>
                <a:gd name="connsiteX468" fmla="*/ 6451292 w 10375356"/>
                <a:gd name="connsiteY468" fmla="*/ 1340549 h 10394676"/>
                <a:gd name="connsiteX469" fmla="*/ 6186326 w 10375356"/>
                <a:gd name="connsiteY469" fmla="*/ 1075585 h 10394676"/>
                <a:gd name="connsiteX470" fmla="*/ 6451292 w 10375356"/>
                <a:gd name="connsiteY470" fmla="*/ 810617 h 10394676"/>
                <a:gd name="connsiteX471" fmla="*/ 6399063 w 10375356"/>
                <a:gd name="connsiteY471" fmla="*/ 125503 h 10394676"/>
                <a:gd name="connsiteX472" fmla="*/ 6500973 w 10375356"/>
                <a:gd name="connsiteY472" fmla="*/ 149024 h 10394676"/>
                <a:gd name="connsiteX473" fmla="*/ 6500973 w 10375356"/>
                <a:gd name="connsiteY473" fmla="*/ 508711 h 10394676"/>
                <a:gd name="connsiteX474" fmla="*/ 6399063 w 10375356"/>
                <a:gd name="connsiteY474" fmla="*/ 508711 h 10394676"/>
                <a:gd name="connsiteX475" fmla="*/ 4743094 w 10375356"/>
                <a:gd name="connsiteY475" fmla="*/ 101073 h 10394676"/>
                <a:gd name="connsiteX476" fmla="*/ 4845004 w 10375356"/>
                <a:gd name="connsiteY476" fmla="*/ 101073 h 10394676"/>
                <a:gd name="connsiteX477" fmla="*/ 4845004 w 10375356"/>
                <a:gd name="connsiteY477" fmla="*/ 508711 h 10394676"/>
                <a:gd name="connsiteX478" fmla="*/ 4743094 w 10375356"/>
                <a:gd name="connsiteY478" fmla="*/ 508711 h 10394676"/>
                <a:gd name="connsiteX479" fmla="*/ 4174642 w 10375356"/>
                <a:gd name="connsiteY479" fmla="*/ 91020 h 10394676"/>
                <a:gd name="connsiteX480" fmla="*/ 4214021 w 10375356"/>
                <a:gd name="connsiteY480" fmla="*/ 149458 h 10394676"/>
                <a:gd name="connsiteX481" fmla="*/ 4234820 w 10375356"/>
                <a:gd name="connsiteY481" fmla="*/ 252661 h 10394676"/>
                <a:gd name="connsiteX482" fmla="*/ 3969854 w 10375356"/>
                <a:gd name="connsiteY482" fmla="*/ 517629 h 10394676"/>
                <a:gd name="connsiteX483" fmla="*/ 3704889 w 10375356"/>
                <a:gd name="connsiteY483" fmla="*/ 252661 h 10394676"/>
                <a:gd name="connsiteX484" fmla="*/ 3714113 w 10375356"/>
                <a:gd name="connsiteY484" fmla="*/ 206895 h 10394676"/>
                <a:gd name="connsiteX485" fmla="*/ 3829928 w 10375356"/>
                <a:gd name="connsiteY485" fmla="*/ 174007 h 10394676"/>
                <a:gd name="connsiteX486" fmla="*/ 3819737 w 10375356"/>
                <a:gd name="connsiteY486" fmla="*/ 189028 h 10394676"/>
                <a:gd name="connsiteX487" fmla="*/ 3806799 w 10375356"/>
                <a:gd name="connsiteY487" fmla="*/ 252661 h 10394676"/>
                <a:gd name="connsiteX488" fmla="*/ 3969854 w 10375356"/>
                <a:gd name="connsiteY488" fmla="*/ 415717 h 10394676"/>
                <a:gd name="connsiteX489" fmla="*/ 4132911 w 10375356"/>
                <a:gd name="connsiteY489" fmla="*/ 252661 h 10394676"/>
                <a:gd name="connsiteX490" fmla="*/ 4085300 w 10375356"/>
                <a:gd name="connsiteY490" fmla="*/ 137218 h 10394676"/>
                <a:gd name="connsiteX491" fmla="*/ 4056168 w 10375356"/>
                <a:gd name="connsiteY491" fmla="*/ 117622 h 10394676"/>
                <a:gd name="connsiteX492" fmla="*/ 4160436 w 10375356"/>
                <a:gd name="connsiteY492" fmla="*/ 93557 h 10394676"/>
                <a:gd name="connsiteX493" fmla="*/ 5625822 w 10375356"/>
                <a:gd name="connsiteY493" fmla="*/ 89607 h 10394676"/>
                <a:gd name="connsiteX494" fmla="*/ 5462766 w 10375356"/>
                <a:gd name="connsiteY494" fmla="*/ 252661 h 10394676"/>
                <a:gd name="connsiteX495" fmla="*/ 5625822 w 10375356"/>
                <a:gd name="connsiteY495" fmla="*/ 415717 h 10394676"/>
                <a:gd name="connsiteX496" fmla="*/ 5788878 w 10375356"/>
                <a:gd name="connsiteY496" fmla="*/ 252661 h 10394676"/>
                <a:gd name="connsiteX497" fmla="*/ 5625822 w 10375356"/>
                <a:gd name="connsiteY497" fmla="*/ 89607 h 10394676"/>
                <a:gd name="connsiteX498" fmla="*/ 5551305 w 10375356"/>
                <a:gd name="connsiteY498" fmla="*/ 0 h 10394676"/>
                <a:gd name="connsiteX499" fmla="*/ 5741268 w 10375356"/>
                <a:gd name="connsiteY499" fmla="*/ 14445 h 10394676"/>
                <a:gd name="connsiteX500" fmla="*/ 5775311 w 10375356"/>
                <a:gd name="connsiteY500" fmla="*/ 32907 h 10394676"/>
                <a:gd name="connsiteX501" fmla="*/ 5892062 w 10375356"/>
                <a:gd name="connsiteY501" fmla="*/ 252661 h 10394676"/>
                <a:gd name="connsiteX502" fmla="*/ 5627096 w 10375356"/>
                <a:gd name="connsiteY502" fmla="*/ 517629 h 10394676"/>
                <a:gd name="connsiteX503" fmla="*/ 5362131 w 10375356"/>
                <a:gd name="connsiteY503" fmla="*/ 252661 h 10394676"/>
                <a:gd name="connsiteX504" fmla="*/ 5523893 w 10375356"/>
                <a:gd name="connsiteY504" fmla="*/ 8497 h 1039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</a:cxnLst>
              <a:rect l="l" t="t" r="r" b="b"/>
              <a:pathLst>
                <a:path w="10375356" h="10394676">
                  <a:moveTo>
                    <a:pt x="6202887" y="10086957"/>
                  </a:moveTo>
                  <a:lnTo>
                    <a:pt x="6713710" y="10086957"/>
                  </a:lnTo>
                  <a:lnTo>
                    <a:pt x="6713710" y="10187665"/>
                  </a:lnTo>
                  <a:lnTo>
                    <a:pt x="6709472" y="10188869"/>
                  </a:lnTo>
                  <a:lnTo>
                    <a:pt x="6202887" y="10188869"/>
                  </a:lnTo>
                  <a:close/>
                  <a:moveTo>
                    <a:pt x="5634740" y="9974857"/>
                  </a:moveTo>
                  <a:cubicBezTo>
                    <a:pt x="5544295" y="9974857"/>
                    <a:pt x="5471684" y="10047469"/>
                    <a:pt x="5471684" y="10137913"/>
                  </a:cubicBezTo>
                  <a:cubicBezTo>
                    <a:pt x="5471684" y="10228357"/>
                    <a:pt x="5544295" y="10300969"/>
                    <a:pt x="5634740" y="10300969"/>
                  </a:cubicBezTo>
                  <a:cubicBezTo>
                    <a:pt x="5725185" y="10299693"/>
                    <a:pt x="5797795" y="10227083"/>
                    <a:pt x="5797795" y="10137913"/>
                  </a:cubicBezTo>
                  <a:cubicBezTo>
                    <a:pt x="5797795" y="10047469"/>
                    <a:pt x="5725185" y="9974857"/>
                    <a:pt x="5634740" y="9974857"/>
                  </a:cubicBezTo>
                  <a:close/>
                  <a:moveTo>
                    <a:pt x="7232175" y="9881865"/>
                  </a:moveTo>
                  <a:lnTo>
                    <a:pt x="7334085" y="9881865"/>
                  </a:lnTo>
                  <a:lnTo>
                    <a:pt x="7334085" y="9956193"/>
                  </a:lnTo>
                  <a:lnTo>
                    <a:pt x="7238719" y="9999307"/>
                  </a:lnTo>
                  <a:lnTo>
                    <a:pt x="7232175" y="10001887"/>
                  </a:lnTo>
                  <a:close/>
                  <a:moveTo>
                    <a:pt x="4751991" y="9881865"/>
                  </a:moveTo>
                  <a:lnTo>
                    <a:pt x="4853901" y="9881865"/>
                  </a:lnTo>
                  <a:lnTo>
                    <a:pt x="4853901" y="10290777"/>
                  </a:lnTo>
                  <a:lnTo>
                    <a:pt x="4751991" y="10290777"/>
                  </a:lnTo>
                  <a:close/>
                  <a:moveTo>
                    <a:pt x="5636013" y="9872947"/>
                  </a:moveTo>
                  <a:cubicBezTo>
                    <a:pt x="5782509" y="9872947"/>
                    <a:pt x="5900978" y="9991417"/>
                    <a:pt x="5900978" y="10137913"/>
                  </a:cubicBezTo>
                  <a:cubicBezTo>
                    <a:pt x="5900978" y="10247785"/>
                    <a:pt x="5834339" y="10341891"/>
                    <a:pt x="5739217" y="10382077"/>
                  </a:cubicBezTo>
                  <a:lnTo>
                    <a:pt x="5738756" y="10382220"/>
                  </a:lnTo>
                  <a:lnTo>
                    <a:pt x="5574951" y="10394676"/>
                  </a:lnTo>
                  <a:lnTo>
                    <a:pt x="5532810" y="10381361"/>
                  </a:lnTo>
                  <a:cubicBezTo>
                    <a:pt x="5437688" y="10340697"/>
                    <a:pt x="5371048" y="10246828"/>
                    <a:pt x="5371048" y="10137913"/>
                  </a:cubicBezTo>
                  <a:cubicBezTo>
                    <a:pt x="5371048" y="9991417"/>
                    <a:pt x="5489518" y="9872947"/>
                    <a:pt x="5636013" y="9872947"/>
                  </a:cubicBezTo>
                  <a:close/>
                  <a:moveTo>
                    <a:pt x="3978752" y="9872947"/>
                  </a:moveTo>
                  <a:cubicBezTo>
                    <a:pt x="4125249" y="9872947"/>
                    <a:pt x="4243718" y="9991417"/>
                    <a:pt x="4243718" y="10137913"/>
                  </a:cubicBezTo>
                  <a:cubicBezTo>
                    <a:pt x="4243718" y="10174537"/>
                    <a:pt x="4236314" y="10209409"/>
                    <a:pt x="4222918" y="10241117"/>
                  </a:cubicBezTo>
                  <a:lnTo>
                    <a:pt x="4179036" y="10306239"/>
                  </a:lnTo>
                  <a:lnTo>
                    <a:pt x="4160436" y="10302917"/>
                  </a:lnTo>
                  <a:lnTo>
                    <a:pt x="4056265" y="10278875"/>
                  </a:lnTo>
                  <a:lnTo>
                    <a:pt x="4094199" y="10253357"/>
                  </a:lnTo>
                  <a:cubicBezTo>
                    <a:pt x="4123657" y="10223899"/>
                    <a:pt x="4141809" y="10183135"/>
                    <a:pt x="4141809" y="10137913"/>
                  </a:cubicBezTo>
                  <a:cubicBezTo>
                    <a:pt x="4141809" y="10047469"/>
                    <a:pt x="4069199" y="9974857"/>
                    <a:pt x="3978752" y="9974857"/>
                  </a:cubicBezTo>
                  <a:cubicBezTo>
                    <a:pt x="3889581" y="9974857"/>
                    <a:pt x="3815698" y="10047469"/>
                    <a:pt x="3815698" y="10137913"/>
                  </a:cubicBezTo>
                  <a:cubicBezTo>
                    <a:pt x="3815698" y="10160524"/>
                    <a:pt x="3820237" y="10182021"/>
                    <a:pt x="3828457" y="10201547"/>
                  </a:cubicBezTo>
                  <a:lnTo>
                    <a:pt x="3845505" y="10226891"/>
                  </a:lnTo>
                  <a:lnTo>
                    <a:pt x="3724813" y="10192618"/>
                  </a:lnTo>
                  <a:lnTo>
                    <a:pt x="3713787" y="10137913"/>
                  </a:lnTo>
                  <a:cubicBezTo>
                    <a:pt x="3713787" y="9991417"/>
                    <a:pt x="3832257" y="9872947"/>
                    <a:pt x="3978752" y="9872947"/>
                  </a:cubicBezTo>
                  <a:close/>
                  <a:moveTo>
                    <a:pt x="3155832" y="9872947"/>
                  </a:moveTo>
                  <a:cubicBezTo>
                    <a:pt x="3265704" y="9872947"/>
                    <a:pt x="3359812" y="9939586"/>
                    <a:pt x="3399999" y="10034709"/>
                  </a:cubicBezTo>
                  <a:lnTo>
                    <a:pt x="3411035" y="10089469"/>
                  </a:lnTo>
                  <a:lnTo>
                    <a:pt x="3280434" y="10037975"/>
                  </a:lnTo>
                  <a:lnTo>
                    <a:pt x="3270003" y="10022469"/>
                  </a:lnTo>
                  <a:cubicBezTo>
                    <a:pt x="3240545" y="9993010"/>
                    <a:pt x="3199781" y="9974857"/>
                    <a:pt x="3154558" y="9974857"/>
                  </a:cubicBezTo>
                  <a:lnTo>
                    <a:pt x="3136355" y="9978507"/>
                  </a:lnTo>
                  <a:lnTo>
                    <a:pt x="3005935" y="9919545"/>
                  </a:lnTo>
                  <a:lnTo>
                    <a:pt x="3007618" y="9918157"/>
                  </a:lnTo>
                  <a:cubicBezTo>
                    <a:pt x="3049902" y="9889607"/>
                    <a:pt x="3100897" y="9872947"/>
                    <a:pt x="3155832" y="9872947"/>
                  </a:cubicBezTo>
                  <a:close/>
                  <a:moveTo>
                    <a:pt x="7851277" y="9262761"/>
                  </a:moveTo>
                  <a:lnTo>
                    <a:pt x="8362099" y="9262761"/>
                  </a:lnTo>
                  <a:lnTo>
                    <a:pt x="8362099" y="9346902"/>
                  </a:lnTo>
                  <a:lnTo>
                    <a:pt x="8339488" y="9364671"/>
                  </a:lnTo>
                  <a:lnTo>
                    <a:pt x="7851277" y="9364671"/>
                  </a:lnTo>
                  <a:close/>
                  <a:moveTo>
                    <a:pt x="5379965" y="9262761"/>
                  </a:moveTo>
                  <a:lnTo>
                    <a:pt x="5890787" y="9262761"/>
                  </a:lnTo>
                  <a:lnTo>
                    <a:pt x="5890787" y="9364671"/>
                  </a:lnTo>
                  <a:lnTo>
                    <a:pt x="5379965" y="9364671"/>
                  </a:lnTo>
                  <a:close/>
                  <a:moveTo>
                    <a:pt x="4546902" y="9262761"/>
                  </a:moveTo>
                  <a:lnTo>
                    <a:pt x="5057725" y="9262761"/>
                  </a:lnTo>
                  <a:lnTo>
                    <a:pt x="5057725" y="9364671"/>
                  </a:lnTo>
                  <a:lnTo>
                    <a:pt x="4546902" y="9364671"/>
                  </a:lnTo>
                  <a:close/>
                  <a:moveTo>
                    <a:pt x="2899787" y="9262761"/>
                  </a:moveTo>
                  <a:lnTo>
                    <a:pt x="3410609" y="9262761"/>
                  </a:lnTo>
                  <a:lnTo>
                    <a:pt x="3410609" y="9364671"/>
                  </a:lnTo>
                  <a:lnTo>
                    <a:pt x="2899787" y="9364671"/>
                  </a:lnTo>
                  <a:close/>
                  <a:moveTo>
                    <a:pt x="6450017" y="9150661"/>
                  </a:moveTo>
                  <a:cubicBezTo>
                    <a:pt x="6359572" y="9150661"/>
                    <a:pt x="6286962" y="9223273"/>
                    <a:pt x="6286962" y="9313717"/>
                  </a:cubicBezTo>
                  <a:cubicBezTo>
                    <a:pt x="6286962" y="9404161"/>
                    <a:pt x="6359572" y="9476773"/>
                    <a:pt x="6450017" y="9476773"/>
                  </a:cubicBezTo>
                  <a:cubicBezTo>
                    <a:pt x="6540463" y="9476773"/>
                    <a:pt x="6613073" y="9404161"/>
                    <a:pt x="6613073" y="9313717"/>
                  </a:cubicBezTo>
                  <a:cubicBezTo>
                    <a:pt x="6613073" y="9223273"/>
                    <a:pt x="6540463" y="9150661"/>
                    <a:pt x="6450017" y="9150661"/>
                  </a:cubicBezTo>
                  <a:close/>
                  <a:moveTo>
                    <a:pt x="3978754" y="9150661"/>
                  </a:moveTo>
                  <a:cubicBezTo>
                    <a:pt x="3889583" y="9150661"/>
                    <a:pt x="3815700" y="9223273"/>
                    <a:pt x="3815700" y="9313717"/>
                  </a:cubicBezTo>
                  <a:cubicBezTo>
                    <a:pt x="3815700" y="9404161"/>
                    <a:pt x="3888310" y="9476773"/>
                    <a:pt x="3978754" y="9476773"/>
                  </a:cubicBezTo>
                  <a:cubicBezTo>
                    <a:pt x="4069201" y="9476773"/>
                    <a:pt x="4141811" y="9404161"/>
                    <a:pt x="4141811" y="9313717"/>
                  </a:cubicBezTo>
                  <a:cubicBezTo>
                    <a:pt x="4141811" y="9223273"/>
                    <a:pt x="4069201" y="9150661"/>
                    <a:pt x="3978754" y="9150661"/>
                  </a:cubicBezTo>
                  <a:close/>
                  <a:moveTo>
                    <a:pt x="7232175" y="9057669"/>
                  </a:moveTo>
                  <a:lnTo>
                    <a:pt x="7334085" y="9057669"/>
                  </a:lnTo>
                  <a:lnTo>
                    <a:pt x="7334085" y="9568493"/>
                  </a:lnTo>
                  <a:lnTo>
                    <a:pt x="7232175" y="9568493"/>
                  </a:lnTo>
                  <a:close/>
                  <a:moveTo>
                    <a:pt x="2280685" y="9057669"/>
                  </a:moveTo>
                  <a:lnTo>
                    <a:pt x="2382595" y="9057669"/>
                  </a:lnTo>
                  <a:lnTo>
                    <a:pt x="2382595" y="9568493"/>
                  </a:lnTo>
                  <a:lnTo>
                    <a:pt x="2374638" y="9568493"/>
                  </a:lnTo>
                  <a:lnTo>
                    <a:pt x="2297278" y="9518899"/>
                  </a:lnTo>
                  <a:lnTo>
                    <a:pt x="2280685" y="9507099"/>
                  </a:lnTo>
                  <a:close/>
                  <a:moveTo>
                    <a:pt x="6450017" y="9048751"/>
                  </a:moveTo>
                  <a:cubicBezTo>
                    <a:pt x="6596513" y="9048751"/>
                    <a:pt x="6714982" y="9167221"/>
                    <a:pt x="6714982" y="9313717"/>
                  </a:cubicBezTo>
                  <a:cubicBezTo>
                    <a:pt x="6714982" y="9460213"/>
                    <a:pt x="6596513" y="9578681"/>
                    <a:pt x="6450017" y="9578681"/>
                  </a:cubicBezTo>
                  <a:cubicBezTo>
                    <a:pt x="6303522" y="9578681"/>
                    <a:pt x="6185052" y="9460213"/>
                    <a:pt x="6185052" y="9313717"/>
                  </a:cubicBezTo>
                  <a:cubicBezTo>
                    <a:pt x="6185052" y="9167221"/>
                    <a:pt x="6303522" y="9048751"/>
                    <a:pt x="6450017" y="9048751"/>
                  </a:cubicBezTo>
                  <a:close/>
                  <a:moveTo>
                    <a:pt x="3978754" y="9048751"/>
                  </a:moveTo>
                  <a:cubicBezTo>
                    <a:pt x="4125250" y="9048751"/>
                    <a:pt x="4243720" y="9167221"/>
                    <a:pt x="4243720" y="9313717"/>
                  </a:cubicBezTo>
                  <a:cubicBezTo>
                    <a:pt x="4243720" y="9460213"/>
                    <a:pt x="4125250" y="9578681"/>
                    <a:pt x="3978754" y="9578681"/>
                  </a:cubicBezTo>
                  <a:cubicBezTo>
                    <a:pt x="3832260" y="9578681"/>
                    <a:pt x="3713789" y="9460213"/>
                    <a:pt x="3713789" y="9313717"/>
                  </a:cubicBezTo>
                  <a:cubicBezTo>
                    <a:pt x="3713789" y="9167221"/>
                    <a:pt x="3832260" y="9048751"/>
                    <a:pt x="3978754" y="9048751"/>
                  </a:cubicBezTo>
                  <a:close/>
                  <a:moveTo>
                    <a:pt x="5676776" y="8665264"/>
                  </a:moveTo>
                  <a:lnTo>
                    <a:pt x="5676776" y="8745569"/>
                  </a:lnTo>
                  <a:lnTo>
                    <a:pt x="5574867" y="8745569"/>
                  </a:lnTo>
                  <a:lnTo>
                    <a:pt x="5574867" y="8678214"/>
                  </a:lnTo>
                  <a:close/>
                  <a:moveTo>
                    <a:pt x="3918880" y="8449859"/>
                  </a:moveTo>
                  <a:lnTo>
                    <a:pt x="4007509" y="8484804"/>
                  </a:lnTo>
                  <a:lnTo>
                    <a:pt x="4020789" y="8489298"/>
                  </a:lnTo>
                  <a:lnTo>
                    <a:pt x="4020789" y="8745569"/>
                  </a:lnTo>
                  <a:lnTo>
                    <a:pt x="3918880" y="8745569"/>
                  </a:lnTo>
                  <a:close/>
                  <a:moveTo>
                    <a:pt x="7018165" y="8438567"/>
                  </a:moveTo>
                  <a:lnTo>
                    <a:pt x="7528988" y="8438567"/>
                  </a:lnTo>
                  <a:lnTo>
                    <a:pt x="7528988" y="8540477"/>
                  </a:lnTo>
                  <a:lnTo>
                    <a:pt x="7018165" y="8540477"/>
                  </a:lnTo>
                  <a:close/>
                  <a:moveTo>
                    <a:pt x="6530840" y="8438567"/>
                  </a:moveTo>
                  <a:lnTo>
                    <a:pt x="6697148" y="8438567"/>
                  </a:lnTo>
                  <a:lnTo>
                    <a:pt x="6697148" y="8540477"/>
                  </a:lnTo>
                  <a:lnTo>
                    <a:pt x="6248661" y="8540477"/>
                  </a:lnTo>
                  <a:lnTo>
                    <a:pt x="6251001" y="8539813"/>
                  </a:lnTo>
                  <a:cubicBezTo>
                    <a:pt x="6305781" y="8522774"/>
                    <a:pt x="6359984" y="8504426"/>
                    <a:pt x="6413573" y="8484804"/>
                  </a:cubicBezTo>
                  <a:close/>
                  <a:moveTo>
                    <a:pt x="2066673" y="8438567"/>
                  </a:moveTo>
                  <a:lnTo>
                    <a:pt x="2577496" y="8438567"/>
                  </a:lnTo>
                  <a:lnTo>
                    <a:pt x="2577496" y="8540477"/>
                  </a:lnTo>
                  <a:lnTo>
                    <a:pt x="2066673" y="8540477"/>
                  </a:lnTo>
                  <a:close/>
                  <a:moveTo>
                    <a:pt x="1234837" y="8438567"/>
                  </a:moveTo>
                  <a:lnTo>
                    <a:pt x="1745660" y="8438567"/>
                  </a:lnTo>
                  <a:lnTo>
                    <a:pt x="1745660" y="8540477"/>
                  </a:lnTo>
                  <a:lnTo>
                    <a:pt x="1234837" y="8540477"/>
                  </a:lnTo>
                  <a:close/>
                  <a:moveTo>
                    <a:pt x="8870376" y="8234747"/>
                  </a:moveTo>
                  <a:lnTo>
                    <a:pt x="8972285" y="8234747"/>
                  </a:lnTo>
                  <a:lnTo>
                    <a:pt x="8972285" y="8745569"/>
                  </a:lnTo>
                  <a:lnTo>
                    <a:pt x="8870376" y="8745569"/>
                  </a:lnTo>
                  <a:close/>
                  <a:moveTo>
                    <a:pt x="8046180" y="8234747"/>
                  </a:moveTo>
                  <a:lnTo>
                    <a:pt x="8148089" y="8234747"/>
                  </a:lnTo>
                  <a:lnTo>
                    <a:pt x="8148089" y="8745569"/>
                  </a:lnTo>
                  <a:lnTo>
                    <a:pt x="8046180" y="8745569"/>
                  </a:lnTo>
                  <a:close/>
                  <a:moveTo>
                    <a:pt x="3094685" y="8234747"/>
                  </a:moveTo>
                  <a:lnTo>
                    <a:pt x="3196595" y="8234747"/>
                  </a:lnTo>
                  <a:lnTo>
                    <a:pt x="3196595" y="8745569"/>
                  </a:lnTo>
                  <a:lnTo>
                    <a:pt x="3094685" y="8745569"/>
                  </a:lnTo>
                  <a:close/>
                  <a:moveTo>
                    <a:pt x="9489477" y="7615645"/>
                  </a:moveTo>
                  <a:lnTo>
                    <a:pt x="9824110" y="7615645"/>
                  </a:lnTo>
                  <a:lnTo>
                    <a:pt x="9792198" y="7681890"/>
                  </a:lnTo>
                  <a:lnTo>
                    <a:pt x="9770531" y="7717555"/>
                  </a:lnTo>
                  <a:lnTo>
                    <a:pt x="9489477" y="7717555"/>
                  </a:lnTo>
                  <a:close/>
                  <a:moveTo>
                    <a:pt x="8666557" y="7615645"/>
                  </a:moveTo>
                  <a:lnTo>
                    <a:pt x="9177379" y="7615645"/>
                  </a:lnTo>
                  <a:lnTo>
                    <a:pt x="9177379" y="7717555"/>
                  </a:lnTo>
                  <a:lnTo>
                    <a:pt x="8666557" y="7717555"/>
                  </a:lnTo>
                  <a:close/>
                  <a:moveTo>
                    <a:pt x="2322721" y="7503545"/>
                  </a:moveTo>
                  <a:cubicBezTo>
                    <a:pt x="2232276" y="7503545"/>
                    <a:pt x="2159665" y="7576155"/>
                    <a:pt x="2159665" y="7666599"/>
                  </a:cubicBezTo>
                  <a:cubicBezTo>
                    <a:pt x="2159665" y="7757045"/>
                    <a:pt x="2232276" y="7829655"/>
                    <a:pt x="2322721" y="7829655"/>
                  </a:cubicBezTo>
                  <a:cubicBezTo>
                    <a:pt x="2411891" y="7828381"/>
                    <a:pt x="2485776" y="7755769"/>
                    <a:pt x="2485776" y="7666599"/>
                  </a:cubicBezTo>
                  <a:cubicBezTo>
                    <a:pt x="2485776" y="7576155"/>
                    <a:pt x="2413167" y="7503545"/>
                    <a:pt x="2322721" y="7503545"/>
                  </a:cubicBezTo>
                  <a:close/>
                  <a:moveTo>
                    <a:pt x="8046180" y="7410553"/>
                  </a:moveTo>
                  <a:lnTo>
                    <a:pt x="8148089" y="7410553"/>
                  </a:lnTo>
                  <a:lnTo>
                    <a:pt x="8148089" y="7921375"/>
                  </a:lnTo>
                  <a:lnTo>
                    <a:pt x="8046180" y="7921375"/>
                  </a:lnTo>
                  <a:close/>
                  <a:moveTo>
                    <a:pt x="1447573" y="7410553"/>
                  </a:moveTo>
                  <a:lnTo>
                    <a:pt x="1549483" y="7410553"/>
                  </a:lnTo>
                  <a:lnTo>
                    <a:pt x="1549483" y="7921375"/>
                  </a:lnTo>
                  <a:lnTo>
                    <a:pt x="1447573" y="7921375"/>
                  </a:lnTo>
                  <a:close/>
                  <a:moveTo>
                    <a:pt x="2322721" y="7401633"/>
                  </a:moveTo>
                  <a:cubicBezTo>
                    <a:pt x="2469216" y="7401633"/>
                    <a:pt x="2587686" y="7520105"/>
                    <a:pt x="2587686" y="7666599"/>
                  </a:cubicBezTo>
                  <a:cubicBezTo>
                    <a:pt x="2587686" y="7813095"/>
                    <a:pt x="2469216" y="7931565"/>
                    <a:pt x="2322721" y="7931565"/>
                  </a:cubicBezTo>
                  <a:cubicBezTo>
                    <a:pt x="2176225" y="7930291"/>
                    <a:pt x="2057755" y="7811821"/>
                    <a:pt x="2057755" y="7666599"/>
                  </a:cubicBezTo>
                  <a:cubicBezTo>
                    <a:pt x="2057755" y="7520105"/>
                    <a:pt x="2176225" y="7401633"/>
                    <a:pt x="2322721" y="7401633"/>
                  </a:cubicBezTo>
                  <a:close/>
                  <a:moveTo>
                    <a:pt x="674333" y="7401633"/>
                  </a:moveTo>
                  <a:cubicBezTo>
                    <a:pt x="820829" y="7401633"/>
                    <a:pt x="939299" y="7520105"/>
                    <a:pt x="939299" y="7666599"/>
                  </a:cubicBezTo>
                  <a:cubicBezTo>
                    <a:pt x="939299" y="7776471"/>
                    <a:pt x="872660" y="7870579"/>
                    <a:pt x="777537" y="7910765"/>
                  </a:cubicBezTo>
                  <a:lnTo>
                    <a:pt x="769452" y="7913271"/>
                  </a:lnTo>
                  <a:lnTo>
                    <a:pt x="713980" y="7821961"/>
                  </a:lnTo>
                  <a:lnTo>
                    <a:pt x="739241" y="7816897"/>
                  </a:lnTo>
                  <a:cubicBezTo>
                    <a:pt x="797819" y="7792235"/>
                    <a:pt x="838662" y="7734434"/>
                    <a:pt x="838662" y="7666599"/>
                  </a:cubicBezTo>
                  <a:cubicBezTo>
                    <a:pt x="838662" y="7576155"/>
                    <a:pt x="766051" y="7503545"/>
                    <a:pt x="675607" y="7503545"/>
                  </a:cubicBezTo>
                  <a:cubicBezTo>
                    <a:pt x="652996" y="7503545"/>
                    <a:pt x="631500" y="7508083"/>
                    <a:pt x="611973" y="7516304"/>
                  </a:cubicBezTo>
                  <a:lnTo>
                    <a:pt x="564501" y="7548238"/>
                  </a:lnTo>
                  <a:lnTo>
                    <a:pt x="518632" y="7453019"/>
                  </a:lnTo>
                  <a:lnTo>
                    <a:pt x="526119" y="7446844"/>
                  </a:lnTo>
                  <a:cubicBezTo>
                    <a:pt x="568403" y="7418293"/>
                    <a:pt x="619397" y="7401633"/>
                    <a:pt x="674333" y="7401633"/>
                  </a:cubicBezTo>
                  <a:close/>
                  <a:moveTo>
                    <a:pt x="8148089" y="7094869"/>
                  </a:moveTo>
                  <a:lnTo>
                    <a:pt x="8148089" y="7097179"/>
                  </a:lnTo>
                  <a:lnTo>
                    <a:pt x="8146686" y="7097179"/>
                  </a:lnTo>
                  <a:close/>
                  <a:moveTo>
                    <a:pt x="8665281" y="6791449"/>
                  </a:moveTo>
                  <a:lnTo>
                    <a:pt x="9176104" y="6791449"/>
                  </a:lnTo>
                  <a:lnTo>
                    <a:pt x="9176104" y="6893357"/>
                  </a:lnTo>
                  <a:lnTo>
                    <a:pt x="8665281" y="6893357"/>
                  </a:lnTo>
                  <a:close/>
                  <a:moveTo>
                    <a:pt x="2066681" y="6791449"/>
                  </a:moveTo>
                  <a:lnTo>
                    <a:pt x="2098040" y="6791449"/>
                  </a:lnTo>
                  <a:lnTo>
                    <a:pt x="2133958" y="6866010"/>
                  </a:lnTo>
                  <a:lnTo>
                    <a:pt x="2150572" y="6893357"/>
                  </a:lnTo>
                  <a:lnTo>
                    <a:pt x="2066681" y="6893357"/>
                  </a:lnTo>
                  <a:close/>
                  <a:moveTo>
                    <a:pt x="419562" y="6791449"/>
                  </a:moveTo>
                  <a:lnTo>
                    <a:pt x="930385" y="6791449"/>
                  </a:lnTo>
                  <a:lnTo>
                    <a:pt x="930385" y="6893357"/>
                  </a:lnTo>
                  <a:lnTo>
                    <a:pt x="419562" y="6893357"/>
                  </a:lnTo>
                  <a:close/>
                  <a:moveTo>
                    <a:pt x="9745526" y="6679349"/>
                  </a:moveTo>
                  <a:cubicBezTo>
                    <a:pt x="9655081" y="6679349"/>
                    <a:pt x="9582469" y="6751961"/>
                    <a:pt x="9582469" y="6842405"/>
                  </a:cubicBezTo>
                  <a:cubicBezTo>
                    <a:pt x="9582469" y="6932849"/>
                    <a:pt x="9655081" y="7005461"/>
                    <a:pt x="9745526" y="7005461"/>
                  </a:cubicBezTo>
                  <a:cubicBezTo>
                    <a:pt x="9835970" y="7005461"/>
                    <a:pt x="9908582" y="6932849"/>
                    <a:pt x="9908582" y="6842405"/>
                  </a:cubicBezTo>
                  <a:cubicBezTo>
                    <a:pt x="9908582" y="6751961"/>
                    <a:pt x="9835970" y="6679349"/>
                    <a:pt x="9745526" y="6679349"/>
                  </a:cubicBezTo>
                  <a:close/>
                  <a:moveTo>
                    <a:pt x="1498533" y="6679349"/>
                  </a:moveTo>
                  <a:cubicBezTo>
                    <a:pt x="1408088" y="6679349"/>
                    <a:pt x="1335477" y="6751961"/>
                    <a:pt x="1335477" y="6842405"/>
                  </a:cubicBezTo>
                  <a:cubicBezTo>
                    <a:pt x="1335477" y="6932849"/>
                    <a:pt x="1408088" y="7005461"/>
                    <a:pt x="1498533" y="7005461"/>
                  </a:cubicBezTo>
                  <a:cubicBezTo>
                    <a:pt x="1588977" y="7005461"/>
                    <a:pt x="1661588" y="6932849"/>
                    <a:pt x="1661588" y="6842405"/>
                  </a:cubicBezTo>
                  <a:cubicBezTo>
                    <a:pt x="1661588" y="6751961"/>
                    <a:pt x="1588977" y="6679349"/>
                    <a:pt x="1498533" y="6679349"/>
                  </a:cubicBezTo>
                  <a:close/>
                  <a:moveTo>
                    <a:pt x="9744252" y="6577439"/>
                  </a:moveTo>
                  <a:cubicBezTo>
                    <a:pt x="9890747" y="6577439"/>
                    <a:pt x="10009217" y="6695909"/>
                    <a:pt x="10009217" y="6842405"/>
                  </a:cubicBezTo>
                  <a:cubicBezTo>
                    <a:pt x="10009217" y="6988901"/>
                    <a:pt x="9890747" y="7107369"/>
                    <a:pt x="9744252" y="7107369"/>
                  </a:cubicBezTo>
                  <a:cubicBezTo>
                    <a:pt x="9597757" y="7107369"/>
                    <a:pt x="9479286" y="6988901"/>
                    <a:pt x="9479286" y="6842405"/>
                  </a:cubicBezTo>
                  <a:cubicBezTo>
                    <a:pt x="9479286" y="6695909"/>
                    <a:pt x="9597757" y="6577439"/>
                    <a:pt x="9744252" y="6577439"/>
                  </a:cubicBezTo>
                  <a:close/>
                  <a:moveTo>
                    <a:pt x="1499807" y="6577439"/>
                  </a:moveTo>
                  <a:cubicBezTo>
                    <a:pt x="1646302" y="6577439"/>
                    <a:pt x="1764771" y="6695909"/>
                    <a:pt x="1764771" y="6842405"/>
                  </a:cubicBezTo>
                  <a:cubicBezTo>
                    <a:pt x="1764771" y="6988901"/>
                    <a:pt x="1646302" y="7107369"/>
                    <a:pt x="1499807" y="7107369"/>
                  </a:cubicBezTo>
                  <a:cubicBezTo>
                    <a:pt x="1353311" y="7107369"/>
                    <a:pt x="1234841" y="6988901"/>
                    <a:pt x="1234841" y="6842405"/>
                  </a:cubicBezTo>
                  <a:cubicBezTo>
                    <a:pt x="1234841" y="6695909"/>
                    <a:pt x="1353311" y="6577439"/>
                    <a:pt x="1499807" y="6577439"/>
                  </a:cubicBezTo>
                  <a:close/>
                  <a:moveTo>
                    <a:pt x="8921331" y="5855153"/>
                  </a:moveTo>
                  <a:cubicBezTo>
                    <a:pt x="8830884" y="5855153"/>
                    <a:pt x="8758274" y="5927763"/>
                    <a:pt x="8758274" y="6018209"/>
                  </a:cubicBezTo>
                  <a:cubicBezTo>
                    <a:pt x="8758274" y="6108653"/>
                    <a:pt x="8830884" y="6181265"/>
                    <a:pt x="8921331" y="6181265"/>
                  </a:cubicBezTo>
                  <a:cubicBezTo>
                    <a:pt x="9011775" y="6181265"/>
                    <a:pt x="9084385" y="6108653"/>
                    <a:pt x="9084385" y="6018209"/>
                  </a:cubicBezTo>
                  <a:cubicBezTo>
                    <a:pt x="9084385" y="5927763"/>
                    <a:pt x="9011775" y="5855153"/>
                    <a:pt x="8921331" y="5855153"/>
                  </a:cubicBezTo>
                  <a:close/>
                  <a:moveTo>
                    <a:pt x="674337" y="5855153"/>
                  </a:moveTo>
                  <a:cubicBezTo>
                    <a:pt x="583892" y="5855153"/>
                    <a:pt x="511282" y="5927763"/>
                    <a:pt x="511282" y="6018209"/>
                  </a:cubicBezTo>
                  <a:cubicBezTo>
                    <a:pt x="511282" y="6108653"/>
                    <a:pt x="583892" y="6181265"/>
                    <a:pt x="674337" y="6181265"/>
                  </a:cubicBezTo>
                  <a:cubicBezTo>
                    <a:pt x="764782" y="6181265"/>
                    <a:pt x="837393" y="6108653"/>
                    <a:pt x="837393" y="6018209"/>
                  </a:cubicBezTo>
                  <a:cubicBezTo>
                    <a:pt x="837393" y="5927763"/>
                    <a:pt x="764782" y="5855153"/>
                    <a:pt x="674337" y="5855153"/>
                  </a:cubicBezTo>
                  <a:close/>
                  <a:moveTo>
                    <a:pt x="10375356" y="5854333"/>
                  </a:moveTo>
                  <a:lnTo>
                    <a:pt x="10334572" y="6121561"/>
                  </a:lnTo>
                  <a:lnTo>
                    <a:pt x="10334472" y="6121413"/>
                  </a:lnTo>
                  <a:cubicBezTo>
                    <a:pt x="10321077" y="6089706"/>
                    <a:pt x="10313672" y="6054833"/>
                    <a:pt x="10313672" y="6018209"/>
                  </a:cubicBezTo>
                  <a:cubicBezTo>
                    <a:pt x="10313672" y="5981585"/>
                    <a:pt x="10321077" y="5946713"/>
                    <a:pt x="10334472" y="5915005"/>
                  </a:cubicBezTo>
                  <a:close/>
                  <a:moveTo>
                    <a:pt x="9694571" y="5763433"/>
                  </a:moveTo>
                  <a:lnTo>
                    <a:pt x="9796481" y="5763433"/>
                  </a:lnTo>
                  <a:lnTo>
                    <a:pt x="9796481" y="6274257"/>
                  </a:lnTo>
                  <a:lnTo>
                    <a:pt x="9694571" y="6274257"/>
                  </a:lnTo>
                  <a:close/>
                  <a:moveTo>
                    <a:pt x="1447575" y="5763433"/>
                  </a:moveTo>
                  <a:lnTo>
                    <a:pt x="1549485" y="5763433"/>
                  </a:lnTo>
                  <a:lnTo>
                    <a:pt x="1549485" y="6274257"/>
                  </a:lnTo>
                  <a:lnTo>
                    <a:pt x="1447575" y="6274257"/>
                  </a:lnTo>
                  <a:close/>
                  <a:moveTo>
                    <a:pt x="8922604" y="5753243"/>
                  </a:moveTo>
                  <a:cubicBezTo>
                    <a:pt x="9069099" y="5753243"/>
                    <a:pt x="9187569" y="5871713"/>
                    <a:pt x="9187569" y="6018209"/>
                  </a:cubicBezTo>
                  <a:cubicBezTo>
                    <a:pt x="9187569" y="6164705"/>
                    <a:pt x="9069099" y="6283173"/>
                    <a:pt x="8922604" y="6283173"/>
                  </a:cubicBezTo>
                  <a:cubicBezTo>
                    <a:pt x="8776109" y="6283173"/>
                    <a:pt x="8657638" y="6164705"/>
                    <a:pt x="8657638" y="6018209"/>
                  </a:cubicBezTo>
                  <a:cubicBezTo>
                    <a:pt x="8657638" y="5871713"/>
                    <a:pt x="8776109" y="5753243"/>
                    <a:pt x="8922604" y="5753243"/>
                  </a:cubicBezTo>
                  <a:close/>
                  <a:moveTo>
                    <a:pt x="675610" y="5753243"/>
                  </a:moveTo>
                  <a:cubicBezTo>
                    <a:pt x="822108" y="5753243"/>
                    <a:pt x="940577" y="5871713"/>
                    <a:pt x="940577" y="6018209"/>
                  </a:cubicBezTo>
                  <a:cubicBezTo>
                    <a:pt x="940577" y="6164705"/>
                    <a:pt x="822108" y="6283173"/>
                    <a:pt x="675610" y="6283173"/>
                  </a:cubicBezTo>
                  <a:cubicBezTo>
                    <a:pt x="529116" y="6283173"/>
                    <a:pt x="410646" y="6164705"/>
                    <a:pt x="410646" y="6018209"/>
                  </a:cubicBezTo>
                  <a:cubicBezTo>
                    <a:pt x="410646" y="5871713"/>
                    <a:pt x="529116" y="5753243"/>
                    <a:pt x="675610" y="5753243"/>
                  </a:cubicBezTo>
                  <a:close/>
                  <a:moveTo>
                    <a:pt x="9489477" y="5143057"/>
                  </a:moveTo>
                  <a:lnTo>
                    <a:pt x="10000300" y="5143057"/>
                  </a:lnTo>
                  <a:lnTo>
                    <a:pt x="10000300" y="5244969"/>
                  </a:lnTo>
                  <a:lnTo>
                    <a:pt x="9489477" y="5244969"/>
                  </a:lnTo>
                  <a:close/>
                  <a:moveTo>
                    <a:pt x="8706634" y="5143057"/>
                  </a:moveTo>
                  <a:lnTo>
                    <a:pt x="9176104" y="5143057"/>
                  </a:lnTo>
                  <a:lnTo>
                    <a:pt x="9176104" y="5244969"/>
                  </a:lnTo>
                  <a:lnTo>
                    <a:pt x="8707060" y="5244969"/>
                  </a:lnTo>
                  <a:lnTo>
                    <a:pt x="8709420" y="5198237"/>
                  </a:lnTo>
                  <a:close/>
                  <a:moveTo>
                    <a:pt x="1242485" y="5143057"/>
                  </a:moveTo>
                  <a:lnTo>
                    <a:pt x="1714449" y="5143057"/>
                  </a:lnTo>
                  <a:lnTo>
                    <a:pt x="1711662" y="5198237"/>
                  </a:lnTo>
                  <a:lnTo>
                    <a:pt x="1714022" y="5244969"/>
                  </a:lnTo>
                  <a:lnTo>
                    <a:pt x="1242485" y="5244969"/>
                  </a:lnTo>
                  <a:close/>
                  <a:moveTo>
                    <a:pt x="2787" y="5143057"/>
                  </a:moveTo>
                  <a:lnTo>
                    <a:pt x="97302" y="5143057"/>
                  </a:lnTo>
                  <a:lnTo>
                    <a:pt x="97302" y="5244969"/>
                  </a:lnTo>
                  <a:lnTo>
                    <a:pt x="2360" y="5244969"/>
                  </a:lnTo>
                  <a:lnTo>
                    <a:pt x="0" y="5198237"/>
                  </a:lnTo>
                  <a:close/>
                  <a:moveTo>
                    <a:pt x="623389" y="4939239"/>
                  </a:moveTo>
                  <a:lnTo>
                    <a:pt x="725299" y="4939239"/>
                  </a:lnTo>
                  <a:lnTo>
                    <a:pt x="725299" y="5450061"/>
                  </a:lnTo>
                  <a:lnTo>
                    <a:pt x="623389" y="5450061"/>
                  </a:lnTo>
                  <a:close/>
                  <a:moveTo>
                    <a:pt x="86723" y="4273524"/>
                  </a:moveTo>
                  <a:lnTo>
                    <a:pt x="106218" y="4371093"/>
                  </a:lnTo>
                  <a:cubicBezTo>
                    <a:pt x="106218" y="4407717"/>
                    <a:pt x="98813" y="4442589"/>
                    <a:pt x="85418" y="4474296"/>
                  </a:cubicBezTo>
                  <a:lnTo>
                    <a:pt x="47492" y="4530579"/>
                  </a:lnTo>
                  <a:close/>
                  <a:moveTo>
                    <a:pt x="9745526" y="4208037"/>
                  </a:moveTo>
                  <a:cubicBezTo>
                    <a:pt x="9655081" y="4208037"/>
                    <a:pt x="9582469" y="4280647"/>
                    <a:pt x="9582469" y="4371093"/>
                  </a:cubicBezTo>
                  <a:cubicBezTo>
                    <a:pt x="9582469" y="4461537"/>
                    <a:pt x="9655081" y="4534147"/>
                    <a:pt x="9745526" y="4534147"/>
                  </a:cubicBezTo>
                  <a:cubicBezTo>
                    <a:pt x="9835970" y="4534147"/>
                    <a:pt x="9908582" y="4461537"/>
                    <a:pt x="9908582" y="4371093"/>
                  </a:cubicBezTo>
                  <a:cubicBezTo>
                    <a:pt x="9908582" y="4280647"/>
                    <a:pt x="9835970" y="4208037"/>
                    <a:pt x="9745526" y="4208037"/>
                  </a:cubicBezTo>
                  <a:close/>
                  <a:moveTo>
                    <a:pt x="1498539" y="4208037"/>
                  </a:moveTo>
                  <a:cubicBezTo>
                    <a:pt x="1408093" y="4208037"/>
                    <a:pt x="1335482" y="4280647"/>
                    <a:pt x="1335482" y="4371093"/>
                  </a:cubicBezTo>
                  <a:cubicBezTo>
                    <a:pt x="1335482" y="4461537"/>
                    <a:pt x="1408093" y="4534147"/>
                    <a:pt x="1498539" y="4534147"/>
                  </a:cubicBezTo>
                  <a:cubicBezTo>
                    <a:pt x="1588983" y="4534147"/>
                    <a:pt x="1661593" y="4461537"/>
                    <a:pt x="1661593" y="4371093"/>
                  </a:cubicBezTo>
                  <a:cubicBezTo>
                    <a:pt x="1661593" y="4280647"/>
                    <a:pt x="1588983" y="4208037"/>
                    <a:pt x="1498539" y="4208037"/>
                  </a:cubicBezTo>
                  <a:close/>
                  <a:moveTo>
                    <a:pt x="8870376" y="4115043"/>
                  </a:moveTo>
                  <a:lnTo>
                    <a:pt x="8972285" y="4115043"/>
                  </a:lnTo>
                  <a:lnTo>
                    <a:pt x="8972285" y="4625865"/>
                  </a:lnTo>
                  <a:lnTo>
                    <a:pt x="8870376" y="4625865"/>
                  </a:lnTo>
                  <a:close/>
                  <a:moveTo>
                    <a:pt x="623387" y="4115043"/>
                  </a:moveTo>
                  <a:lnTo>
                    <a:pt x="725297" y="4115043"/>
                  </a:lnTo>
                  <a:lnTo>
                    <a:pt x="725297" y="4625865"/>
                  </a:lnTo>
                  <a:lnTo>
                    <a:pt x="623387" y="4625865"/>
                  </a:lnTo>
                  <a:close/>
                  <a:moveTo>
                    <a:pt x="9744252" y="4106125"/>
                  </a:moveTo>
                  <a:cubicBezTo>
                    <a:pt x="9890747" y="4106125"/>
                    <a:pt x="10009217" y="4224597"/>
                    <a:pt x="10009217" y="4371093"/>
                  </a:cubicBezTo>
                  <a:cubicBezTo>
                    <a:pt x="10009217" y="4517587"/>
                    <a:pt x="9890747" y="4636057"/>
                    <a:pt x="9744252" y="4636057"/>
                  </a:cubicBezTo>
                  <a:cubicBezTo>
                    <a:pt x="9597757" y="4636057"/>
                    <a:pt x="9479286" y="4517587"/>
                    <a:pt x="9479286" y="4371093"/>
                  </a:cubicBezTo>
                  <a:cubicBezTo>
                    <a:pt x="9479286" y="4224597"/>
                    <a:pt x="9597757" y="4106125"/>
                    <a:pt x="9744252" y="4106125"/>
                  </a:cubicBezTo>
                  <a:close/>
                  <a:moveTo>
                    <a:pt x="1499812" y="4106125"/>
                  </a:moveTo>
                  <a:cubicBezTo>
                    <a:pt x="1646307" y="4106125"/>
                    <a:pt x="1764778" y="4224597"/>
                    <a:pt x="1764778" y="4371093"/>
                  </a:cubicBezTo>
                  <a:cubicBezTo>
                    <a:pt x="1764778" y="4517587"/>
                    <a:pt x="1646307" y="4636057"/>
                    <a:pt x="1499812" y="4636057"/>
                  </a:cubicBezTo>
                  <a:cubicBezTo>
                    <a:pt x="1353316" y="4634783"/>
                    <a:pt x="1234846" y="4517587"/>
                    <a:pt x="1234846" y="4371093"/>
                  </a:cubicBezTo>
                  <a:cubicBezTo>
                    <a:pt x="1234846" y="4224597"/>
                    <a:pt x="1353316" y="4106125"/>
                    <a:pt x="1499812" y="4106125"/>
                  </a:cubicBezTo>
                  <a:close/>
                  <a:moveTo>
                    <a:pt x="9489477" y="3495941"/>
                  </a:moveTo>
                  <a:lnTo>
                    <a:pt x="10000300" y="3495941"/>
                  </a:lnTo>
                  <a:lnTo>
                    <a:pt x="10000300" y="3597851"/>
                  </a:lnTo>
                  <a:lnTo>
                    <a:pt x="9489477" y="3597851"/>
                  </a:lnTo>
                  <a:close/>
                  <a:moveTo>
                    <a:pt x="2066685" y="3495941"/>
                  </a:moveTo>
                  <a:lnTo>
                    <a:pt x="2154931" y="3495941"/>
                  </a:lnTo>
                  <a:lnTo>
                    <a:pt x="2133958" y="3530464"/>
                  </a:lnTo>
                  <a:lnTo>
                    <a:pt x="2101496" y="3597851"/>
                  </a:lnTo>
                  <a:lnTo>
                    <a:pt x="2066685" y="3597851"/>
                  </a:lnTo>
                  <a:close/>
                  <a:moveTo>
                    <a:pt x="674343" y="3383841"/>
                  </a:moveTo>
                  <a:cubicBezTo>
                    <a:pt x="583899" y="3383841"/>
                    <a:pt x="511289" y="3456451"/>
                    <a:pt x="511289" y="3546897"/>
                  </a:cubicBezTo>
                  <a:cubicBezTo>
                    <a:pt x="511289" y="3637341"/>
                    <a:pt x="583899" y="3709953"/>
                    <a:pt x="674343" y="3709953"/>
                  </a:cubicBezTo>
                  <a:cubicBezTo>
                    <a:pt x="764789" y="3709953"/>
                    <a:pt x="837399" y="3637341"/>
                    <a:pt x="837399" y="3546897"/>
                  </a:cubicBezTo>
                  <a:cubicBezTo>
                    <a:pt x="837399" y="3456451"/>
                    <a:pt x="764789" y="3383841"/>
                    <a:pt x="674343" y="3383841"/>
                  </a:cubicBezTo>
                  <a:close/>
                  <a:moveTo>
                    <a:pt x="8870376" y="3292121"/>
                  </a:moveTo>
                  <a:lnTo>
                    <a:pt x="8972285" y="3292121"/>
                  </a:lnTo>
                  <a:lnTo>
                    <a:pt x="8972285" y="3802945"/>
                  </a:lnTo>
                  <a:lnTo>
                    <a:pt x="8870376" y="3802945"/>
                  </a:lnTo>
                  <a:close/>
                  <a:moveTo>
                    <a:pt x="8142327" y="3292121"/>
                  </a:moveTo>
                  <a:lnTo>
                    <a:pt x="8148089" y="3292121"/>
                  </a:lnTo>
                  <a:lnTo>
                    <a:pt x="8148089" y="3301606"/>
                  </a:lnTo>
                  <a:close/>
                  <a:moveTo>
                    <a:pt x="1447583" y="3292121"/>
                  </a:moveTo>
                  <a:lnTo>
                    <a:pt x="1549493" y="3292121"/>
                  </a:lnTo>
                  <a:lnTo>
                    <a:pt x="1549493" y="3802945"/>
                  </a:lnTo>
                  <a:lnTo>
                    <a:pt x="1447583" y="3802945"/>
                  </a:lnTo>
                  <a:close/>
                  <a:moveTo>
                    <a:pt x="675617" y="3281931"/>
                  </a:moveTo>
                  <a:cubicBezTo>
                    <a:pt x="822113" y="3281931"/>
                    <a:pt x="940583" y="3400401"/>
                    <a:pt x="940583" y="3546897"/>
                  </a:cubicBezTo>
                  <a:cubicBezTo>
                    <a:pt x="940583" y="3693393"/>
                    <a:pt x="822113" y="3811861"/>
                    <a:pt x="675617" y="3811861"/>
                  </a:cubicBezTo>
                  <a:cubicBezTo>
                    <a:pt x="529123" y="3811861"/>
                    <a:pt x="410652" y="3693393"/>
                    <a:pt x="410652" y="3546897"/>
                  </a:cubicBezTo>
                  <a:cubicBezTo>
                    <a:pt x="410652" y="3400401"/>
                    <a:pt x="529123" y="3281931"/>
                    <a:pt x="675617" y="3281931"/>
                  </a:cubicBezTo>
                  <a:close/>
                  <a:moveTo>
                    <a:pt x="1242482" y="2671745"/>
                  </a:moveTo>
                  <a:lnTo>
                    <a:pt x="1753305" y="2671745"/>
                  </a:lnTo>
                  <a:lnTo>
                    <a:pt x="1753305" y="2773657"/>
                  </a:lnTo>
                  <a:lnTo>
                    <a:pt x="1242482" y="2773657"/>
                  </a:lnTo>
                  <a:close/>
                  <a:moveTo>
                    <a:pt x="8921331" y="2560919"/>
                  </a:moveTo>
                  <a:cubicBezTo>
                    <a:pt x="8832160" y="2560919"/>
                    <a:pt x="8758275" y="2633529"/>
                    <a:pt x="8758275" y="2723975"/>
                  </a:cubicBezTo>
                  <a:cubicBezTo>
                    <a:pt x="8758275" y="2814419"/>
                    <a:pt x="8830885" y="2887029"/>
                    <a:pt x="8921331" y="2887029"/>
                  </a:cubicBezTo>
                  <a:cubicBezTo>
                    <a:pt x="9011776" y="2887029"/>
                    <a:pt x="9084386" y="2814419"/>
                    <a:pt x="9084386" y="2723975"/>
                  </a:cubicBezTo>
                  <a:cubicBezTo>
                    <a:pt x="9084386" y="2633529"/>
                    <a:pt x="9011776" y="2560919"/>
                    <a:pt x="8921331" y="2560919"/>
                  </a:cubicBezTo>
                  <a:close/>
                  <a:moveTo>
                    <a:pt x="2322726" y="2560919"/>
                  </a:moveTo>
                  <a:cubicBezTo>
                    <a:pt x="2232282" y="2560919"/>
                    <a:pt x="2159671" y="2633529"/>
                    <a:pt x="2159671" y="2723975"/>
                  </a:cubicBezTo>
                  <a:cubicBezTo>
                    <a:pt x="2159671" y="2814419"/>
                    <a:pt x="2232282" y="2887029"/>
                    <a:pt x="2322726" y="2887029"/>
                  </a:cubicBezTo>
                  <a:cubicBezTo>
                    <a:pt x="2411897" y="2885757"/>
                    <a:pt x="2485782" y="2813145"/>
                    <a:pt x="2485782" y="2723975"/>
                  </a:cubicBezTo>
                  <a:cubicBezTo>
                    <a:pt x="2485782" y="2633529"/>
                    <a:pt x="2413173" y="2560919"/>
                    <a:pt x="2322726" y="2560919"/>
                  </a:cubicBezTo>
                  <a:close/>
                  <a:moveTo>
                    <a:pt x="9694571" y="2553886"/>
                  </a:moveTo>
                  <a:lnTo>
                    <a:pt x="9792198" y="2714584"/>
                  </a:lnTo>
                  <a:lnTo>
                    <a:pt x="9796481" y="2723476"/>
                  </a:lnTo>
                  <a:lnTo>
                    <a:pt x="9796481" y="2978749"/>
                  </a:lnTo>
                  <a:lnTo>
                    <a:pt x="9694571" y="2978749"/>
                  </a:lnTo>
                  <a:close/>
                  <a:moveTo>
                    <a:pt x="772671" y="2477905"/>
                  </a:moveTo>
                  <a:lnTo>
                    <a:pt x="778813" y="2479809"/>
                  </a:lnTo>
                  <a:cubicBezTo>
                    <a:pt x="873936" y="2519996"/>
                    <a:pt x="940575" y="2614103"/>
                    <a:pt x="940575" y="2723975"/>
                  </a:cubicBezTo>
                  <a:cubicBezTo>
                    <a:pt x="940575" y="2870469"/>
                    <a:pt x="822106" y="2988941"/>
                    <a:pt x="675608" y="2988941"/>
                  </a:cubicBezTo>
                  <a:cubicBezTo>
                    <a:pt x="620673" y="2988463"/>
                    <a:pt x="569678" y="2971504"/>
                    <a:pt x="527394" y="2942835"/>
                  </a:cubicBezTo>
                  <a:lnTo>
                    <a:pt x="521341" y="2937832"/>
                  </a:lnTo>
                  <a:lnTo>
                    <a:pt x="566336" y="2844427"/>
                  </a:lnTo>
                  <a:lnTo>
                    <a:pt x="610701" y="2874271"/>
                  </a:lnTo>
                  <a:cubicBezTo>
                    <a:pt x="630227" y="2882491"/>
                    <a:pt x="651723" y="2887029"/>
                    <a:pt x="674334" y="2887029"/>
                  </a:cubicBezTo>
                  <a:cubicBezTo>
                    <a:pt x="764780" y="2885757"/>
                    <a:pt x="837390" y="2813145"/>
                    <a:pt x="837390" y="2723975"/>
                  </a:cubicBezTo>
                  <a:cubicBezTo>
                    <a:pt x="837390" y="2656141"/>
                    <a:pt x="796547" y="2598339"/>
                    <a:pt x="737968" y="2573678"/>
                  </a:cubicBezTo>
                  <a:lnTo>
                    <a:pt x="717037" y="2569481"/>
                  </a:lnTo>
                  <a:close/>
                  <a:moveTo>
                    <a:pt x="8046180" y="2467925"/>
                  </a:moveTo>
                  <a:lnTo>
                    <a:pt x="8148089" y="2467925"/>
                  </a:lnTo>
                  <a:lnTo>
                    <a:pt x="8148089" y="2978749"/>
                  </a:lnTo>
                  <a:lnTo>
                    <a:pt x="8046180" y="2978749"/>
                  </a:lnTo>
                  <a:close/>
                  <a:moveTo>
                    <a:pt x="8921331" y="2459009"/>
                  </a:moveTo>
                  <a:cubicBezTo>
                    <a:pt x="9067826" y="2459009"/>
                    <a:pt x="9186296" y="2577479"/>
                    <a:pt x="9186296" y="2723975"/>
                  </a:cubicBezTo>
                  <a:cubicBezTo>
                    <a:pt x="9186296" y="2870469"/>
                    <a:pt x="9067826" y="2988941"/>
                    <a:pt x="8921331" y="2988941"/>
                  </a:cubicBezTo>
                  <a:cubicBezTo>
                    <a:pt x="8774836" y="2988941"/>
                    <a:pt x="8656365" y="2870469"/>
                    <a:pt x="8656365" y="2723975"/>
                  </a:cubicBezTo>
                  <a:cubicBezTo>
                    <a:pt x="8656365" y="2577479"/>
                    <a:pt x="8774836" y="2459009"/>
                    <a:pt x="8921331" y="2459009"/>
                  </a:cubicBezTo>
                  <a:close/>
                  <a:moveTo>
                    <a:pt x="2322726" y="2459009"/>
                  </a:moveTo>
                  <a:cubicBezTo>
                    <a:pt x="2469222" y="2459009"/>
                    <a:pt x="2587692" y="2577479"/>
                    <a:pt x="2587692" y="2723975"/>
                  </a:cubicBezTo>
                  <a:cubicBezTo>
                    <a:pt x="2587692" y="2870469"/>
                    <a:pt x="2469222" y="2988941"/>
                    <a:pt x="2322726" y="2988941"/>
                  </a:cubicBezTo>
                  <a:cubicBezTo>
                    <a:pt x="2176232" y="2988941"/>
                    <a:pt x="2057761" y="2869197"/>
                    <a:pt x="2057761" y="2723975"/>
                  </a:cubicBezTo>
                  <a:cubicBezTo>
                    <a:pt x="2057761" y="2577479"/>
                    <a:pt x="2176232" y="2459009"/>
                    <a:pt x="2322726" y="2459009"/>
                  </a:cubicBezTo>
                  <a:close/>
                  <a:moveTo>
                    <a:pt x="7842360" y="1848825"/>
                  </a:moveTo>
                  <a:lnTo>
                    <a:pt x="8353182" y="1848825"/>
                  </a:lnTo>
                  <a:lnTo>
                    <a:pt x="8353182" y="1950733"/>
                  </a:lnTo>
                  <a:lnTo>
                    <a:pt x="7842360" y="1950733"/>
                  </a:lnTo>
                  <a:close/>
                  <a:moveTo>
                    <a:pt x="6223404" y="1848825"/>
                  </a:moveTo>
                  <a:lnTo>
                    <a:pt x="6704792" y="1848825"/>
                  </a:lnTo>
                  <a:lnTo>
                    <a:pt x="6704792" y="1950733"/>
                  </a:lnTo>
                  <a:lnTo>
                    <a:pt x="6512646" y="1950733"/>
                  </a:lnTo>
                  <a:lnTo>
                    <a:pt x="6413573" y="1911670"/>
                  </a:lnTo>
                  <a:cubicBezTo>
                    <a:pt x="6359984" y="1892049"/>
                    <a:pt x="6305781" y="1873700"/>
                    <a:pt x="6251001" y="1856662"/>
                  </a:cubicBezTo>
                  <a:close/>
                  <a:moveTo>
                    <a:pt x="2890884" y="1848825"/>
                  </a:moveTo>
                  <a:lnTo>
                    <a:pt x="3401707" y="1848825"/>
                  </a:lnTo>
                  <a:lnTo>
                    <a:pt x="3401707" y="1950733"/>
                  </a:lnTo>
                  <a:lnTo>
                    <a:pt x="2890884" y="1950733"/>
                  </a:lnTo>
                  <a:close/>
                  <a:moveTo>
                    <a:pt x="1242493" y="1848825"/>
                  </a:moveTo>
                  <a:lnTo>
                    <a:pt x="1753316" y="1848825"/>
                  </a:lnTo>
                  <a:lnTo>
                    <a:pt x="1753316" y="1950733"/>
                  </a:lnTo>
                  <a:lnTo>
                    <a:pt x="1242493" y="1950733"/>
                  </a:lnTo>
                  <a:close/>
                  <a:moveTo>
                    <a:pt x="8921331" y="1736725"/>
                  </a:moveTo>
                  <a:cubicBezTo>
                    <a:pt x="8832160" y="1736725"/>
                    <a:pt x="8758275" y="1809335"/>
                    <a:pt x="8758275" y="1899781"/>
                  </a:cubicBezTo>
                  <a:cubicBezTo>
                    <a:pt x="8758275" y="1990225"/>
                    <a:pt x="8830885" y="2062835"/>
                    <a:pt x="8921331" y="2062835"/>
                  </a:cubicBezTo>
                  <a:cubicBezTo>
                    <a:pt x="9011776" y="2062835"/>
                    <a:pt x="9084386" y="1990225"/>
                    <a:pt x="9084386" y="1899781"/>
                  </a:cubicBezTo>
                  <a:cubicBezTo>
                    <a:pt x="9084386" y="1809335"/>
                    <a:pt x="9011776" y="1736725"/>
                    <a:pt x="8921331" y="1736725"/>
                  </a:cubicBezTo>
                  <a:close/>
                  <a:moveTo>
                    <a:pt x="7223258" y="1643731"/>
                  </a:moveTo>
                  <a:lnTo>
                    <a:pt x="7325168" y="1643731"/>
                  </a:lnTo>
                  <a:lnTo>
                    <a:pt x="7325168" y="2154553"/>
                  </a:lnTo>
                  <a:lnTo>
                    <a:pt x="7223258" y="2154553"/>
                  </a:lnTo>
                  <a:close/>
                  <a:moveTo>
                    <a:pt x="2271782" y="1643731"/>
                  </a:moveTo>
                  <a:lnTo>
                    <a:pt x="2373691" y="1643731"/>
                  </a:lnTo>
                  <a:lnTo>
                    <a:pt x="2373691" y="2154553"/>
                  </a:lnTo>
                  <a:lnTo>
                    <a:pt x="2271782" y="2154553"/>
                  </a:lnTo>
                  <a:close/>
                  <a:moveTo>
                    <a:pt x="8921331" y="1634813"/>
                  </a:moveTo>
                  <a:cubicBezTo>
                    <a:pt x="8957955" y="1634813"/>
                    <a:pt x="8992827" y="1642218"/>
                    <a:pt x="9024534" y="1655614"/>
                  </a:cubicBezTo>
                  <a:lnTo>
                    <a:pt x="9036119" y="1661896"/>
                  </a:lnTo>
                  <a:lnTo>
                    <a:pt x="9067478" y="1694788"/>
                  </a:lnTo>
                  <a:lnTo>
                    <a:pt x="9168482" y="1811390"/>
                  </a:lnTo>
                  <a:lnTo>
                    <a:pt x="9186296" y="1899781"/>
                  </a:lnTo>
                  <a:cubicBezTo>
                    <a:pt x="9186296" y="2046275"/>
                    <a:pt x="9067826" y="2164745"/>
                    <a:pt x="8921331" y="2164745"/>
                  </a:cubicBezTo>
                  <a:cubicBezTo>
                    <a:pt x="8774836" y="2164745"/>
                    <a:pt x="8656365" y="2046275"/>
                    <a:pt x="8656365" y="1899781"/>
                  </a:cubicBezTo>
                  <a:cubicBezTo>
                    <a:pt x="8656365" y="1753285"/>
                    <a:pt x="8774836" y="1634813"/>
                    <a:pt x="8921331" y="1634813"/>
                  </a:cubicBezTo>
                  <a:close/>
                  <a:moveTo>
                    <a:pt x="3969851" y="1634813"/>
                  </a:moveTo>
                  <a:cubicBezTo>
                    <a:pt x="4079723" y="1634813"/>
                    <a:pt x="4173831" y="1701454"/>
                    <a:pt x="4214017" y="1796577"/>
                  </a:cubicBezTo>
                  <a:lnTo>
                    <a:pt x="4223093" y="1841608"/>
                  </a:lnTo>
                  <a:lnTo>
                    <a:pt x="4170081" y="1856662"/>
                  </a:lnTo>
                  <a:lnTo>
                    <a:pt x="4127174" y="1871180"/>
                  </a:lnTo>
                  <a:lnTo>
                    <a:pt x="4120150" y="1836147"/>
                  </a:lnTo>
                  <a:cubicBezTo>
                    <a:pt x="4095488" y="1777568"/>
                    <a:pt x="4037686" y="1736725"/>
                    <a:pt x="3969851" y="1736725"/>
                  </a:cubicBezTo>
                  <a:cubicBezTo>
                    <a:pt x="3880680" y="1736725"/>
                    <a:pt x="3806796" y="1809335"/>
                    <a:pt x="3806796" y="1899781"/>
                  </a:cubicBezTo>
                  <a:cubicBezTo>
                    <a:pt x="3806796" y="1922392"/>
                    <a:pt x="3811334" y="1943889"/>
                    <a:pt x="3819555" y="1963414"/>
                  </a:cubicBezTo>
                  <a:lnTo>
                    <a:pt x="3832208" y="1982224"/>
                  </a:lnTo>
                  <a:lnTo>
                    <a:pt x="3741230" y="2026051"/>
                  </a:lnTo>
                  <a:lnTo>
                    <a:pt x="3725686" y="2002984"/>
                  </a:lnTo>
                  <a:cubicBezTo>
                    <a:pt x="3712291" y="1971277"/>
                    <a:pt x="3704886" y="1936405"/>
                    <a:pt x="3704886" y="1899781"/>
                  </a:cubicBezTo>
                  <a:cubicBezTo>
                    <a:pt x="3704886" y="1753285"/>
                    <a:pt x="3823356" y="1634813"/>
                    <a:pt x="3969851" y="1634813"/>
                  </a:cubicBezTo>
                  <a:close/>
                  <a:moveTo>
                    <a:pt x="7842360" y="1024629"/>
                  </a:moveTo>
                  <a:lnTo>
                    <a:pt x="8330359" y="1024629"/>
                  </a:lnTo>
                  <a:lnTo>
                    <a:pt x="8353182" y="1042565"/>
                  </a:lnTo>
                  <a:lnTo>
                    <a:pt x="8353182" y="1126539"/>
                  </a:lnTo>
                  <a:lnTo>
                    <a:pt x="7842360" y="1126539"/>
                  </a:lnTo>
                  <a:close/>
                  <a:moveTo>
                    <a:pt x="5371048" y="1024629"/>
                  </a:moveTo>
                  <a:lnTo>
                    <a:pt x="5881870" y="1024629"/>
                  </a:lnTo>
                  <a:lnTo>
                    <a:pt x="5881870" y="1126539"/>
                  </a:lnTo>
                  <a:lnTo>
                    <a:pt x="5371048" y="1126539"/>
                  </a:lnTo>
                  <a:close/>
                  <a:moveTo>
                    <a:pt x="4538001" y="1024629"/>
                  </a:moveTo>
                  <a:lnTo>
                    <a:pt x="5048825" y="1024629"/>
                  </a:lnTo>
                  <a:lnTo>
                    <a:pt x="5048825" y="1126539"/>
                  </a:lnTo>
                  <a:lnTo>
                    <a:pt x="4538001" y="1126539"/>
                  </a:lnTo>
                  <a:close/>
                  <a:moveTo>
                    <a:pt x="2890886" y="1024629"/>
                  </a:moveTo>
                  <a:lnTo>
                    <a:pt x="3401709" y="1024629"/>
                  </a:lnTo>
                  <a:lnTo>
                    <a:pt x="3401709" y="1126539"/>
                  </a:lnTo>
                  <a:lnTo>
                    <a:pt x="2890886" y="1126539"/>
                  </a:lnTo>
                  <a:close/>
                  <a:moveTo>
                    <a:pt x="6450017" y="912529"/>
                  </a:moveTo>
                  <a:cubicBezTo>
                    <a:pt x="6359572" y="912529"/>
                    <a:pt x="6286962" y="985139"/>
                    <a:pt x="6286962" y="1075585"/>
                  </a:cubicBezTo>
                  <a:cubicBezTo>
                    <a:pt x="6286962" y="1166029"/>
                    <a:pt x="6359572" y="1238639"/>
                    <a:pt x="6450017" y="1238639"/>
                  </a:cubicBezTo>
                  <a:cubicBezTo>
                    <a:pt x="6540463" y="1238639"/>
                    <a:pt x="6613073" y="1166029"/>
                    <a:pt x="6613073" y="1075585"/>
                  </a:cubicBezTo>
                  <a:cubicBezTo>
                    <a:pt x="6613073" y="985139"/>
                    <a:pt x="6540463" y="912529"/>
                    <a:pt x="6450017" y="912529"/>
                  </a:cubicBezTo>
                  <a:close/>
                  <a:moveTo>
                    <a:pt x="2373692" y="828587"/>
                  </a:moveTo>
                  <a:lnTo>
                    <a:pt x="2373692" y="1331633"/>
                  </a:lnTo>
                  <a:lnTo>
                    <a:pt x="2271782" y="1331633"/>
                  </a:lnTo>
                  <a:lnTo>
                    <a:pt x="2271782" y="895706"/>
                  </a:lnTo>
                  <a:lnTo>
                    <a:pt x="2297278" y="877575"/>
                  </a:lnTo>
                  <a:close/>
                  <a:moveTo>
                    <a:pt x="7223258" y="820809"/>
                  </a:moveTo>
                  <a:lnTo>
                    <a:pt x="7325168" y="820809"/>
                  </a:lnTo>
                  <a:lnTo>
                    <a:pt x="7325168" y="1331633"/>
                  </a:lnTo>
                  <a:lnTo>
                    <a:pt x="7223258" y="1331633"/>
                  </a:lnTo>
                  <a:close/>
                  <a:moveTo>
                    <a:pt x="3918899" y="820809"/>
                  </a:moveTo>
                  <a:lnTo>
                    <a:pt x="4020808" y="820809"/>
                  </a:lnTo>
                  <a:lnTo>
                    <a:pt x="4020808" y="1331633"/>
                  </a:lnTo>
                  <a:lnTo>
                    <a:pt x="3918899" y="1331633"/>
                  </a:lnTo>
                  <a:close/>
                  <a:moveTo>
                    <a:pt x="6451292" y="810617"/>
                  </a:moveTo>
                  <a:cubicBezTo>
                    <a:pt x="6597788" y="810617"/>
                    <a:pt x="6716257" y="929089"/>
                    <a:pt x="6716257" y="1075585"/>
                  </a:cubicBezTo>
                  <a:cubicBezTo>
                    <a:pt x="6716257" y="1222079"/>
                    <a:pt x="6597788" y="1340549"/>
                    <a:pt x="6451292" y="1340549"/>
                  </a:cubicBezTo>
                  <a:cubicBezTo>
                    <a:pt x="6303522" y="1340549"/>
                    <a:pt x="6186326" y="1222079"/>
                    <a:pt x="6186326" y="1075585"/>
                  </a:cubicBezTo>
                  <a:cubicBezTo>
                    <a:pt x="6186326" y="929089"/>
                    <a:pt x="6304797" y="810617"/>
                    <a:pt x="6451292" y="810617"/>
                  </a:cubicBezTo>
                  <a:close/>
                  <a:moveTo>
                    <a:pt x="6399063" y="125503"/>
                  </a:moveTo>
                  <a:lnTo>
                    <a:pt x="6500973" y="149024"/>
                  </a:lnTo>
                  <a:lnTo>
                    <a:pt x="6500973" y="508711"/>
                  </a:lnTo>
                  <a:lnTo>
                    <a:pt x="6399063" y="508711"/>
                  </a:lnTo>
                  <a:close/>
                  <a:moveTo>
                    <a:pt x="4743094" y="101073"/>
                  </a:moveTo>
                  <a:lnTo>
                    <a:pt x="4845004" y="101073"/>
                  </a:lnTo>
                  <a:lnTo>
                    <a:pt x="4845004" y="508711"/>
                  </a:lnTo>
                  <a:lnTo>
                    <a:pt x="4743094" y="508711"/>
                  </a:lnTo>
                  <a:close/>
                  <a:moveTo>
                    <a:pt x="4174642" y="91020"/>
                  </a:moveTo>
                  <a:lnTo>
                    <a:pt x="4214021" y="149458"/>
                  </a:lnTo>
                  <a:cubicBezTo>
                    <a:pt x="4227416" y="181166"/>
                    <a:pt x="4234820" y="216038"/>
                    <a:pt x="4234820" y="252661"/>
                  </a:cubicBezTo>
                  <a:cubicBezTo>
                    <a:pt x="4234820" y="399157"/>
                    <a:pt x="4116350" y="517629"/>
                    <a:pt x="3969854" y="517629"/>
                  </a:cubicBezTo>
                  <a:cubicBezTo>
                    <a:pt x="3823359" y="517629"/>
                    <a:pt x="3704889" y="399157"/>
                    <a:pt x="3704889" y="252661"/>
                  </a:cubicBezTo>
                  <a:lnTo>
                    <a:pt x="3714113" y="206895"/>
                  </a:lnTo>
                  <a:lnTo>
                    <a:pt x="3829928" y="174007"/>
                  </a:lnTo>
                  <a:lnTo>
                    <a:pt x="3819737" y="189028"/>
                  </a:lnTo>
                  <a:cubicBezTo>
                    <a:pt x="3811417" y="208554"/>
                    <a:pt x="3806799" y="230050"/>
                    <a:pt x="3806799" y="252661"/>
                  </a:cubicBezTo>
                  <a:cubicBezTo>
                    <a:pt x="3806799" y="343107"/>
                    <a:pt x="3879410" y="415717"/>
                    <a:pt x="3969854" y="415717"/>
                  </a:cubicBezTo>
                  <a:cubicBezTo>
                    <a:pt x="4060300" y="415717"/>
                    <a:pt x="4132911" y="343107"/>
                    <a:pt x="4132911" y="252661"/>
                  </a:cubicBezTo>
                  <a:cubicBezTo>
                    <a:pt x="4132911" y="207439"/>
                    <a:pt x="4114759" y="166676"/>
                    <a:pt x="4085300" y="137218"/>
                  </a:cubicBezTo>
                  <a:lnTo>
                    <a:pt x="4056168" y="117622"/>
                  </a:lnTo>
                  <a:lnTo>
                    <a:pt x="4160436" y="93557"/>
                  </a:lnTo>
                  <a:close/>
                  <a:moveTo>
                    <a:pt x="5625822" y="89607"/>
                  </a:moveTo>
                  <a:cubicBezTo>
                    <a:pt x="5535377" y="89607"/>
                    <a:pt x="5462766" y="162217"/>
                    <a:pt x="5462766" y="252661"/>
                  </a:cubicBezTo>
                  <a:cubicBezTo>
                    <a:pt x="5462766" y="343107"/>
                    <a:pt x="5535377" y="415717"/>
                    <a:pt x="5625822" y="415717"/>
                  </a:cubicBezTo>
                  <a:cubicBezTo>
                    <a:pt x="5716267" y="414445"/>
                    <a:pt x="5788878" y="341833"/>
                    <a:pt x="5788878" y="252661"/>
                  </a:cubicBezTo>
                  <a:cubicBezTo>
                    <a:pt x="5788878" y="162217"/>
                    <a:pt x="5716267" y="89607"/>
                    <a:pt x="5625822" y="89607"/>
                  </a:cubicBezTo>
                  <a:close/>
                  <a:moveTo>
                    <a:pt x="5551305" y="0"/>
                  </a:moveTo>
                  <a:lnTo>
                    <a:pt x="5741268" y="14445"/>
                  </a:lnTo>
                  <a:lnTo>
                    <a:pt x="5775311" y="32907"/>
                  </a:lnTo>
                  <a:cubicBezTo>
                    <a:pt x="5845785" y="80491"/>
                    <a:pt x="5892062" y="161102"/>
                    <a:pt x="5892062" y="252661"/>
                  </a:cubicBezTo>
                  <a:cubicBezTo>
                    <a:pt x="5892062" y="399157"/>
                    <a:pt x="5773592" y="517629"/>
                    <a:pt x="5627096" y="517629"/>
                  </a:cubicBezTo>
                  <a:cubicBezTo>
                    <a:pt x="5480601" y="516353"/>
                    <a:pt x="5362131" y="397885"/>
                    <a:pt x="5362131" y="252661"/>
                  </a:cubicBezTo>
                  <a:cubicBezTo>
                    <a:pt x="5362131" y="142791"/>
                    <a:pt x="5428771" y="48684"/>
                    <a:pt x="5523893" y="8497"/>
                  </a:cubicBez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0"/>
                    <a:alpha val="15000"/>
                  </a:schemeClr>
                </a:gs>
                <a:gs pos="0">
                  <a:schemeClr val="accent1">
                    <a:lumMod val="50000"/>
                    <a:alpha val="0"/>
                  </a:schemeClr>
                </a:gs>
              </a:gsLst>
              <a:lin ang="18900000" scaled="0"/>
            </a:gradFill>
            <a:ln w="127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430">
              <a:extLst>
                <a:ext uri="{FF2B5EF4-FFF2-40B4-BE49-F238E27FC236}">
                  <a16:creationId xmlns:a16="http://schemas.microsoft.com/office/drawing/2014/main" id="{E5BBAFA9-9EF8-3641-80DF-4CDF06FFEC34}"/>
                </a:ext>
              </a:extLst>
            </p:cNvPr>
            <p:cNvSpPr/>
            <p:nvPr userDrawn="1"/>
          </p:nvSpPr>
          <p:spPr>
            <a:xfrm>
              <a:off x="-5968729" y="-530765"/>
              <a:ext cx="10375356" cy="10394676"/>
            </a:xfrm>
            <a:custGeom>
              <a:avLst/>
              <a:gdLst>
                <a:gd name="connsiteX0" fmla="*/ 6202887 w 10375356"/>
                <a:gd name="connsiteY0" fmla="*/ 10086957 h 10394676"/>
                <a:gd name="connsiteX1" fmla="*/ 6713710 w 10375356"/>
                <a:gd name="connsiteY1" fmla="*/ 10086957 h 10394676"/>
                <a:gd name="connsiteX2" fmla="*/ 6713710 w 10375356"/>
                <a:gd name="connsiteY2" fmla="*/ 10187665 h 10394676"/>
                <a:gd name="connsiteX3" fmla="*/ 6709472 w 10375356"/>
                <a:gd name="connsiteY3" fmla="*/ 10188869 h 10394676"/>
                <a:gd name="connsiteX4" fmla="*/ 6202887 w 10375356"/>
                <a:gd name="connsiteY4" fmla="*/ 10188869 h 10394676"/>
                <a:gd name="connsiteX5" fmla="*/ 5634740 w 10375356"/>
                <a:gd name="connsiteY5" fmla="*/ 9974857 h 10394676"/>
                <a:gd name="connsiteX6" fmla="*/ 5471684 w 10375356"/>
                <a:gd name="connsiteY6" fmla="*/ 10137913 h 10394676"/>
                <a:gd name="connsiteX7" fmla="*/ 5634740 w 10375356"/>
                <a:gd name="connsiteY7" fmla="*/ 10300969 h 10394676"/>
                <a:gd name="connsiteX8" fmla="*/ 5797795 w 10375356"/>
                <a:gd name="connsiteY8" fmla="*/ 10137913 h 10394676"/>
                <a:gd name="connsiteX9" fmla="*/ 5634740 w 10375356"/>
                <a:gd name="connsiteY9" fmla="*/ 9974857 h 10394676"/>
                <a:gd name="connsiteX10" fmla="*/ 7232175 w 10375356"/>
                <a:gd name="connsiteY10" fmla="*/ 9881865 h 10394676"/>
                <a:gd name="connsiteX11" fmla="*/ 7334085 w 10375356"/>
                <a:gd name="connsiteY11" fmla="*/ 9881865 h 10394676"/>
                <a:gd name="connsiteX12" fmla="*/ 7334085 w 10375356"/>
                <a:gd name="connsiteY12" fmla="*/ 9956193 h 10394676"/>
                <a:gd name="connsiteX13" fmla="*/ 7238719 w 10375356"/>
                <a:gd name="connsiteY13" fmla="*/ 9999307 h 10394676"/>
                <a:gd name="connsiteX14" fmla="*/ 7232175 w 10375356"/>
                <a:gd name="connsiteY14" fmla="*/ 10001887 h 10394676"/>
                <a:gd name="connsiteX15" fmla="*/ 4751991 w 10375356"/>
                <a:gd name="connsiteY15" fmla="*/ 9881865 h 10394676"/>
                <a:gd name="connsiteX16" fmla="*/ 4853901 w 10375356"/>
                <a:gd name="connsiteY16" fmla="*/ 9881865 h 10394676"/>
                <a:gd name="connsiteX17" fmla="*/ 4853901 w 10375356"/>
                <a:gd name="connsiteY17" fmla="*/ 10290777 h 10394676"/>
                <a:gd name="connsiteX18" fmla="*/ 4751991 w 10375356"/>
                <a:gd name="connsiteY18" fmla="*/ 10290777 h 10394676"/>
                <a:gd name="connsiteX19" fmla="*/ 5636013 w 10375356"/>
                <a:gd name="connsiteY19" fmla="*/ 9872947 h 10394676"/>
                <a:gd name="connsiteX20" fmla="*/ 5900978 w 10375356"/>
                <a:gd name="connsiteY20" fmla="*/ 10137913 h 10394676"/>
                <a:gd name="connsiteX21" fmla="*/ 5739217 w 10375356"/>
                <a:gd name="connsiteY21" fmla="*/ 10382077 h 10394676"/>
                <a:gd name="connsiteX22" fmla="*/ 5738756 w 10375356"/>
                <a:gd name="connsiteY22" fmla="*/ 10382220 h 10394676"/>
                <a:gd name="connsiteX23" fmla="*/ 5574951 w 10375356"/>
                <a:gd name="connsiteY23" fmla="*/ 10394676 h 10394676"/>
                <a:gd name="connsiteX24" fmla="*/ 5532810 w 10375356"/>
                <a:gd name="connsiteY24" fmla="*/ 10381361 h 10394676"/>
                <a:gd name="connsiteX25" fmla="*/ 5371048 w 10375356"/>
                <a:gd name="connsiteY25" fmla="*/ 10137913 h 10394676"/>
                <a:gd name="connsiteX26" fmla="*/ 5636013 w 10375356"/>
                <a:gd name="connsiteY26" fmla="*/ 9872947 h 10394676"/>
                <a:gd name="connsiteX27" fmla="*/ 3978752 w 10375356"/>
                <a:gd name="connsiteY27" fmla="*/ 9872947 h 10394676"/>
                <a:gd name="connsiteX28" fmla="*/ 4243718 w 10375356"/>
                <a:gd name="connsiteY28" fmla="*/ 10137913 h 10394676"/>
                <a:gd name="connsiteX29" fmla="*/ 4222918 w 10375356"/>
                <a:gd name="connsiteY29" fmla="*/ 10241117 h 10394676"/>
                <a:gd name="connsiteX30" fmla="*/ 4179036 w 10375356"/>
                <a:gd name="connsiteY30" fmla="*/ 10306239 h 10394676"/>
                <a:gd name="connsiteX31" fmla="*/ 4160436 w 10375356"/>
                <a:gd name="connsiteY31" fmla="*/ 10302917 h 10394676"/>
                <a:gd name="connsiteX32" fmla="*/ 4056265 w 10375356"/>
                <a:gd name="connsiteY32" fmla="*/ 10278875 h 10394676"/>
                <a:gd name="connsiteX33" fmla="*/ 4094199 w 10375356"/>
                <a:gd name="connsiteY33" fmla="*/ 10253357 h 10394676"/>
                <a:gd name="connsiteX34" fmla="*/ 4141809 w 10375356"/>
                <a:gd name="connsiteY34" fmla="*/ 10137913 h 10394676"/>
                <a:gd name="connsiteX35" fmla="*/ 3978752 w 10375356"/>
                <a:gd name="connsiteY35" fmla="*/ 9974857 h 10394676"/>
                <a:gd name="connsiteX36" fmla="*/ 3815698 w 10375356"/>
                <a:gd name="connsiteY36" fmla="*/ 10137913 h 10394676"/>
                <a:gd name="connsiteX37" fmla="*/ 3828457 w 10375356"/>
                <a:gd name="connsiteY37" fmla="*/ 10201547 h 10394676"/>
                <a:gd name="connsiteX38" fmla="*/ 3845505 w 10375356"/>
                <a:gd name="connsiteY38" fmla="*/ 10226891 h 10394676"/>
                <a:gd name="connsiteX39" fmla="*/ 3724813 w 10375356"/>
                <a:gd name="connsiteY39" fmla="*/ 10192618 h 10394676"/>
                <a:gd name="connsiteX40" fmla="*/ 3713787 w 10375356"/>
                <a:gd name="connsiteY40" fmla="*/ 10137913 h 10394676"/>
                <a:gd name="connsiteX41" fmla="*/ 3978752 w 10375356"/>
                <a:gd name="connsiteY41" fmla="*/ 9872947 h 10394676"/>
                <a:gd name="connsiteX42" fmla="*/ 3155832 w 10375356"/>
                <a:gd name="connsiteY42" fmla="*/ 9872947 h 10394676"/>
                <a:gd name="connsiteX43" fmla="*/ 3399999 w 10375356"/>
                <a:gd name="connsiteY43" fmla="*/ 10034709 h 10394676"/>
                <a:gd name="connsiteX44" fmla="*/ 3411035 w 10375356"/>
                <a:gd name="connsiteY44" fmla="*/ 10089469 h 10394676"/>
                <a:gd name="connsiteX45" fmla="*/ 3280434 w 10375356"/>
                <a:gd name="connsiteY45" fmla="*/ 10037975 h 10394676"/>
                <a:gd name="connsiteX46" fmla="*/ 3270003 w 10375356"/>
                <a:gd name="connsiteY46" fmla="*/ 10022469 h 10394676"/>
                <a:gd name="connsiteX47" fmla="*/ 3154558 w 10375356"/>
                <a:gd name="connsiteY47" fmla="*/ 9974857 h 10394676"/>
                <a:gd name="connsiteX48" fmla="*/ 3136355 w 10375356"/>
                <a:gd name="connsiteY48" fmla="*/ 9978507 h 10394676"/>
                <a:gd name="connsiteX49" fmla="*/ 3005935 w 10375356"/>
                <a:gd name="connsiteY49" fmla="*/ 9919545 h 10394676"/>
                <a:gd name="connsiteX50" fmla="*/ 3007618 w 10375356"/>
                <a:gd name="connsiteY50" fmla="*/ 9918157 h 10394676"/>
                <a:gd name="connsiteX51" fmla="*/ 3155832 w 10375356"/>
                <a:gd name="connsiteY51" fmla="*/ 9872947 h 10394676"/>
                <a:gd name="connsiteX52" fmla="*/ 7851277 w 10375356"/>
                <a:gd name="connsiteY52" fmla="*/ 9262761 h 10394676"/>
                <a:gd name="connsiteX53" fmla="*/ 8362099 w 10375356"/>
                <a:gd name="connsiteY53" fmla="*/ 9262761 h 10394676"/>
                <a:gd name="connsiteX54" fmla="*/ 8362099 w 10375356"/>
                <a:gd name="connsiteY54" fmla="*/ 9346902 h 10394676"/>
                <a:gd name="connsiteX55" fmla="*/ 8339488 w 10375356"/>
                <a:gd name="connsiteY55" fmla="*/ 9364671 h 10394676"/>
                <a:gd name="connsiteX56" fmla="*/ 7851277 w 10375356"/>
                <a:gd name="connsiteY56" fmla="*/ 9364671 h 10394676"/>
                <a:gd name="connsiteX57" fmla="*/ 5379965 w 10375356"/>
                <a:gd name="connsiteY57" fmla="*/ 9262761 h 10394676"/>
                <a:gd name="connsiteX58" fmla="*/ 5890787 w 10375356"/>
                <a:gd name="connsiteY58" fmla="*/ 9262761 h 10394676"/>
                <a:gd name="connsiteX59" fmla="*/ 5890787 w 10375356"/>
                <a:gd name="connsiteY59" fmla="*/ 9364671 h 10394676"/>
                <a:gd name="connsiteX60" fmla="*/ 5379965 w 10375356"/>
                <a:gd name="connsiteY60" fmla="*/ 9364671 h 10394676"/>
                <a:gd name="connsiteX61" fmla="*/ 4546902 w 10375356"/>
                <a:gd name="connsiteY61" fmla="*/ 9262761 h 10394676"/>
                <a:gd name="connsiteX62" fmla="*/ 5057725 w 10375356"/>
                <a:gd name="connsiteY62" fmla="*/ 9262761 h 10394676"/>
                <a:gd name="connsiteX63" fmla="*/ 5057725 w 10375356"/>
                <a:gd name="connsiteY63" fmla="*/ 9364671 h 10394676"/>
                <a:gd name="connsiteX64" fmla="*/ 4546902 w 10375356"/>
                <a:gd name="connsiteY64" fmla="*/ 9364671 h 10394676"/>
                <a:gd name="connsiteX65" fmla="*/ 2899787 w 10375356"/>
                <a:gd name="connsiteY65" fmla="*/ 9262761 h 10394676"/>
                <a:gd name="connsiteX66" fmla="*/ 3410609 w 10375356"/>
                <a:gd name="connsiteY66" fmla="*/ 9262761 h 10394676"/>
                <a:gd name="connsiteX67" fmla="*/ 3410609 w 10375356"/>
                <a:gd name="connsiteY67" fmla="*/ 9364671 h 10394676"/>
                <a:gd name="connsiteX68" fmla="*/ 2899787 w 10375356"/>
                <a:gd name="connsiteY68" fmla="*/ 9364671 h 10394676"/>
                <a:gd name="connsiteX69" fmla="*/ 6450017 w 10375356"/>
                <a:gd name="connsiteY69" fmla="*/ 9150661 h 10394676"/>
                <a:gd name="connsiteX70" fmla="*/ 6286962 w 10375356"/>
                <a:gd name="connsiteY70" fmla="*/ 9313717 h 10394676"/>
                <a:gd name="connsiteX71" fmla="*/ 6450017 w 10375356"/>
                <a:gd name="connsiteY71" fmla="*/ 9476773 h 10394676"/>
                <a:gd name="connsiteX72" fmla="*/ 6613073 w 10375356"/>
                <a:gd name="connsiteY72" fmla="*/ 9313717 h 10394676"/>
                <a:gd name="connsiteX73" fmla="*/ 6450017 w 10375356"/>
                <a:gd name="connsiteY73" fmla="*/ 9150661 h 10394676"/>
                <a:gd name="connsiteX74" fmla="*/ 3978754 w 10375356"/>
                <a:gd name="connsiteY74" fmla="*/ 9150661 h 10394676"/>
                <a:gd name="connsiteX75" fmla="*/ 3815700 w 10375356"/>
                <a:gd name="connsiteY75" fmla="*/ 9313717 h 10394676"/>
                <a:gd name="connsiteX76" fmla="*/ 3978754 w 10375356"/>
                <a:gd name="connsiteY76" fmla="*/ 9476773 h 10394676"/>
                <a:gd name="connsiteX77" fmla="*/ 4141811 w 10375356"/>
                <a:gd name="connsiteY77" fmla="*/ 9313717 h 10394676"/>
                <a:gd name="connsiteX78" fmla="*/ 3978754 w 10375356"/>
                <a:gd name="connsiteY78" fmla="*/ 9150661 h 10394676"/>
                <a:gd name="connsiteX79" fmla="*/ 7232175 w 10375356"/>
                <a:gd name="connsiteY79" fmla="*/ 9057669 h 10394676"/>
                <a:gd name="connsiteX80" fmla="*/ 7334085 w 10375356"/>
                <a:gd name="connsiteY80" fmla="*/ 9057669 h 10394676"/>
                <a:gd name="connsiteX81" fmla="*/ 7334085 w 10375356"/>
                <a:gd name="connsiteY81" fmla="*/ 9568493 h 10394676"/>
                <a:gd name="connsiteX82" fmla="*/ 7232175 w 10375356"/>
                <a:gd name="connsiteY82" fmla="*/ 9568493 h 10394676"/>
                <a:gd name="connsiteX83" fmla="*/ 2280685 w 10375356"/>
                <a:gd name="connsiteY83" fmla="*/ 9057669 h 10394676"/>
                <a:gd name="connsiteX84" fmla="*/ 2382595 w 10375356"/>
                <a:gd name="connsiteY84" fmla="*/ 9057669 h 10394676"/>
                <a:gd name="connsiteX85" fmla="*/ 2382595 w 10375356"/>
                <a:gd name="connsiteY85" fmla="*/ 9568493 h 10394676"/>
                <a:gd name="connsiteX86" fmla="*/ 2374638 w 10375356"/>
                <a:gd name="connsiteY86" fmla="*/ 9568493 h 10394676"/>
                <a:gd name="connsiteX87" fmla="*/ 2297278 w 10375356"/>
                <a:gd name="connsiteY87" fmla="*/ 9518899 h 10394676"/>
                <a:gd name="connsiteX88" fmla="*/ 2280685 w 10375356"/>
                <a:gd name="connsiteY88" fmla="*/ 9507099 h 10394676"/>
                <a:gd name="connsiteX89" fmla="*/ 6450017 w 10375356"/>
                <a:gd name="connsiteY89" fmla="*/ 9048751 h 10394676"/>
                <a:gd name="connsiteX90" fmla="*/ 6714982 w 10375356"/>
                <a:gd name="connsiteY90" fmla="*/ 9313717 h 10394676"/>
                <a:gd name="connsiteX91" fmla="*/ 6450017 w 10375356"/>
                <a:gd name="connsiteY91" fmla="*/ 9578681 h 10394676"/>
                <a:gd name="connsiteX92" fmla="*/ 6185052 w 10375356"/>
                <a:gd name="connsiteY92" fmla="*/ 9313717 h 10394676"/>
                <a:gd name="connsiteX93" fmla="*/ 6450017 w 10375356"/>
                <a:gd name="connsiteY93" fmla="*/ 9048751 h 10394676"/>
                <a:gd name="connsiteX94" fmla="*/ 3978754 w 10375356"/>
                <a:gd name="connsiteY94" fmla="*/ 9048751 h 10394676"/>
                <a:gd name="connsiteX95" fmla="*/ 4243720 w 10375356"/>
                <a:gd name="connsiteY95" fmla="*/ 9313717 h 10394676"/>
                <a:gd name="connsiteX96" fmla="*/ 3978754 w 10375356"/>
                <a:gd name="connsiteY96" fmla="*/ 9578681 h 10394676"/>
                <a:gd name="connsiteX97" fmla="*/ 3713789 w 10375356"/>
                <a:gd name="connsiteY97" fmla="*/ 9313717 h 10394676"/>
                <a:gd name="connsiteX98" fmla="*/ 3978754 w 10375356"/>
                <a:gd name="connsiteY98" fmla="*/ 9048751 h 10394676"/>
                <a:gd name="connsiteX99" fmla="*/ 5676776 w 10375356"/>
                <a:gd name="connsiteY99" fmla="*/ 8665264 h 10394676"/>
                <a:gd name="connsiteX100" fmla="*/ 5676776 w 10375356"/>
                <a:gd name="connsiteY100" fmla="*/ 8745569 h 10394676"/>
                <a:gd name="connsiteX101" fmla="*/ 5574867 w 10375356"/>
                <a:gd name="connsiteY101" fmla="*/ 8745569 h 10394676"/>
                <a:gd name="connsiteX102" fmla="*/ 5574867 w 10375356"/>
                <a:gd name="connsiteY102" fmla="*/ 8678214 h 10394676"/>
                <a:gd name="connsiteX103" fmla="*/ 3918880 w 10375356"/>
                <a:gd name="connsiteY103" fmla="*/ 8449859 h 10394676"/>
                <a:gd name="connsiteX104" fmla="*/ 4007509 w 10375356"/>
                <a:gd name="connsiteY104" fmla="*/ 8484804 h 10394676"/>
                <a:gd name="connsiteX105" fmla="*/ 4020789 w 10375356"/>
                <a:gd name="connsiteY105" fmla="*/ 8489298 h 10394676"/>
                <a:gd name="connsiteX106" fmla="*/ 4020789 w 10375356"/>
                <a:gd name="connsiteY106" fmla="*/ 8745569 h 10394676"/>
                <a:gd name="connsiteX107" fmla="*/ 3918880 w 10375356"/>
                <a:gd name="connsiteY107" fmla="*/ 8745569 h 10394676"/>
                <a:gd name="connsiteX108" fmla="*/ 7018165 w 10375356"/>
                <a:gd name="connsiteY108" fmla="*/ 8438567 h 10394676"/>
                <a:gd name="connsiteX109" fmla="*/ 7528988 w 10375356"/>
                <a:gd name="connsiteY109" fmla="*/ 8438567 h 10394676"/>
                <a:gd name="connsiteX110" fmla="*/ 7528988 w 10375356"/>
                <a:gd name="connsiteY110" fmla="*/ 8540477 h 10394676"/>
                <a:gd name="connsiteX111" fmla="*/ 7018165 w 10375356"/>
                <a:gd name="connsiteY111" fmla="*/ 8540477 h 10394676"/>
                <a:gd name="connsiteX112" fmla="*/ 6530840 w 10375356"/>
                <a:gd name="connsiteY112" fmla="*/ 8438567 h 10394676"/>
                <a:gd name="connsiteX113" fmla="*/ 6697148 w 10375356"/>
                <a:gd name="connsiteY113" fmla="*/ 8438567 h 10394676"/>
                <a:gd name="connsiteX114" fmla="*/ 6697148 w 10375356"/>
                <a:gd name="connsiteY114" fmla="*/ 8540477 h 10394676"/>
                <a:gd name="connsiteX115" fmla="*/ 6248661 w 10375356"/>
                <a:gd name="connsiteY115" fmla="*/ 8540477 h 10394676"/>
                <a:gd name="connsiteX116" fmla="*/ 6251001 w 10375356"/>
                <a:gd name="connsiteY116" fmla="*/ 8539813 h 10394676"/>
                <a:gd name="connsiteX117" fmla="*/ 6413573 w 10375356"/>
                <a:gd name="connsiteY117" fmla="*/ 8484804 h 10394676"/>
                <a:gd name="connsiteX118" fmla="*/ 2066673 w 10375356"/>
                <a:gd name="connsiteY118" fmla="*/ 8438567 h 10394676"/>
                <a:gd name="connsiteX119" fmla="*/ 2577496 w 10375356"/>
                <a:gd name="connsiteY119" fmla="*/ 8438567 h 10394676"/>
                <a:gd name="connsiteX120" fmla="*/ 2577496 w 10375356"/>
                <a:gd name="connsiteY120" fmla="*/ 8540477 h 10394676"/>
                <a:gd name="connsiteX121" fmla="*/ 2066673 w 10375356"/>
                <a:gd name="connsiteY121" fmla="*/ 8540477 h 10394676"/>
                <a:gd name="connsiteX122" fmla="*/ 1234837 w 10375356"/>
                <a:gd name="connsiteY122" fmla="*/ 8438567 h 10394676"/>
                <a:gd name="connsiteX123" fmla="*/ 1745660 w 10375356"/>
                <a:gd name="connsiteY123" fmla="*/ 8438567 h 10394676"/>
                <a:gd name="connsiteX124" fmla="*/ 1745660 w 10375356"/>
                <a:gd name="connsiteY124" fmla="*/ 8540477 h 10394676"/>
                <a:gd name="connsiteX125" fmla="*/ 1234837 w 10375356"/>
                <a:gd name="connsiteY125" fmla="*/ 8540477 h 10394676"/>
                <a:gd name="connsiteX126" fmla="*/ 8870376 w 10375356"/>
                <a:gd name="connsiteY126" fmla="*/ 8234747 h 10394676"/>
                <a:gd name="connsiteX127" fmla="*/ 8972285 w 10375356"/>
                <a:gd name="connsiteY127" fmla="*/ 8234747 h 10394676"/>
                <a:gd name="connsiteX128" fmla="*/ 8972285 w 10375356"/>
                <a:gd name="connsiteY128" fmla="*/ 8745569 h 10394676"/>
                <a:gd name="connsiteX129" fmla="*/ 8870376 w 10375356"/>
                <a:gd name="connsiteY129" fmla="*/ 8745569 h 10394676"/>
                <a:gd name="connsiteX130" fmla="*/ 8046180 w 10375356"/>
                <a:gd name="connsiteY130" fmla="*/ 8234747 h 10394676"/>
                <a:gd name="connsiteX131" fmla="*/ 8148089 w 10375356"/>
                <a:gd name="connsiteY131" fmla="*/ 8234747 h 10394676"/>
                <a:gd name="connsiteX132" fmla="*/ 8148089 w 10375356"/>
                <a:gd name="connsiteY132" fmla="*/ 8745569 h 10394676"/>
                <a:gd name="connsiteX133" fmla="*/ 8046180 w 10375356"/>
                <a:gd name="connsiteY133" fmla="*/ 8745569 h 10394676"/>
                <a:gd name="connsiteX134" fmla="*/ 3094685 w 10375356"/>
                <a:gd name="connsiteY134" fmla="*/ 8234747 h 10394676"/>
                <a:gd name="connsiteX135" fmla="*/ 3196595 w 10375356"/>
                <a:gd name="connsiteY135" fmla="*/ 8234747 h 10394676"/>
                <a:gd name="connsiteX136" fmla="*/ 3196595 w 10375356"/>
                <a:gd name="connsiteY136" fmla="*/ 8745569 h 10394676"/>
                <a:gd name="connsiteX137" fmla="*/ 3094685 w 10375356"/>
                <a:gd name="connsiteY137" fmla="*/ 8745569 h 10394676"/>
                <a:gd name="connsiteX138" fmla="*/ 9489477 w 10375356"/>
                <a:gd name="connsiteY138" fmla="*/ 7615645 h 10394676"/>
                <a:gd name="connsiteX139" fmla="*/ 9824110 w 10375356"/>
                <a:gd name="connsiteY139" fmla="*/ 7615645 h 10394676"/>
                <a:gd name="connsiteX140" fmla="*/ 9792198 w 10375356"/>
                <a:gd name="connsiteY140" fmla="*/ 7681890 h 10394676"/>
                <a:gd name="connsiteX141" fmla="*/ 9770531 w 10375356"/>
                <a:gd name="connsiteY141" fmla="*/ 7717555 h 10394676"/>
                <a:gd name="connsiteX142" fmla="*/ 9489477 w 10375356"/>
                <a:gd name="connsiteY142" fmla="*/ 7717555 h 10394676"/>
                <a:gd name="connsiteX143" fmla="*/ 8666557 w 10375356"/>
                <a:gd name="connsiteY143" fmla="*/ 7615645 h 10394676"/>
                <a:gd name="connsiteX144" fmla="*/ 9177379 w 10375356"/>
                <a:gd name="connsiteY144" fmla="*/ 7615645 h 10394676"/>
                <a:gd name="connsiteX145" fmla="*/ 9177379 w 10375356"/>
                <a:gd name="connsiteY145" fmla="*/ 7717555 h 10394676"/>
                <a:gd name="connsiteX146" fmla="*/ 8666557 w 10375356"/>
                <a:gd name="connsiteY146" fmla="*/ 7717555 h 10394676"/>
                <a:gd name="connsiteX147" fmla="*/ 2322721 w 10375356"/>
                <a:gd name="connsiteY147" fmla="*/ 7503545 h 10394676"/>
                <a:gd name="connsiteX148" fmla="*/ 2159665 w 10375356"/>
                <a:gd name="connsiteY148" fmla="*/ 7666599 h 10394676"/>
                <a:gd name="connsiteX149" fmla="*/ 2322721 w 10375356"/>
                <a:gd name="connsiteY149" fmla="*/ 7829655 h 10394676"/>
                <a:gd name="connsiteX150" fmla="*/ 2485776 w 10375356"/>
                <a:gd name="connsiteY150" fmla="*/ 7666599 h 10394676"/>
                <a:gd name="connsiteX151" fmla="*/ 2322721 w 10375356"/>
                <a:gd name="connsiteY151" fmla="*/ 7503545 h 10394676"/>
                <a:gd name="connsiteX152" fmla="*/ 8046180 w 10375356"/>
                <a:gd name="connsiteY152" fmla="*/ 7410553 h 10394676"/>
                <a:gd name="connsiteX153" fmla="*/ 8148089 w 10375356"/>
                <a:gd name="connsiteY153" fmla="*/ 7410553 h 10394676"/>
                <a:gd name="connsiteX154" fmla="*/ 8148089 w 10375356"/>
                <a:gd name="connsiteY154" fmla="*/ 7921375 h 10394676"/>
                <a:gd name="connsiteX155" fmla="*/ 8046180 w 10375356"/>
                <a:gd name="connsiteY155" fmla="*/ 7921375 h 10394676"/>
                <a:gd name="connsiteX156" fmla="*/ 1447573 w 10375356"/>
                <a:gd name="connsiteY156" fmla="*/ 7410553 h 10394676"/>
                <a:gd name="connsiteX157" fmla="*/ 1549483 w 10375356"/>
                <a:gd name="connsiteY157" fmla="*/ 7410553 h 10394676"/>
                <a:gd name="connsiteX158" fmla="*/ 1549483 w 10375356"/>
                <a:gd name="connsiteY158" fmla="*/ 7921375 h 10394676"/>
                <a:gd name="connsiteX159" fmla="*/ 1447573 w 10375356"/>
                <a:gd name="connsiteY159" fmla="*/ 7921375 h 10394676"/>
                <a:gd name="connsiteX160" fmla="*/ 2322721 w 10375356"/>
                <a:gd name="connsiteY160" fmla="*/ 7401633 h 10394676"/>
                <a:gd name="connsiteX161" fmla="*/ 2587686 w 10375356"/>
                <a:gd name="connsiteY161" fmla="*/ 7666599 h 10394676"/>
                <a:gd name="connsiteX162" fmla="*/ 2322721 w 10375356"/>
                <a:gd name="connsiteY162" fmla="*/ 7931565 h 10394676"/>
                <a:gd name="connsiteX163" fmla="*/ 2057755 w 10375356"/>
                <a:gd name="connsiteY163" fmla="*/ 7666599 h 10394676"/>
                <a:gd name="connsiteX164" fmla="*/ 2322721 w 10375356"/>
                <a:gd name="connsiteY164" fmla="*/ 7401633 h 10394676"/>
                <a:gd name="connsiteX165" fmla="*/ 674333 w 10375356"/>
                <a:gd name="connsiteY165" fmla="*/ 7401633 h 10394676"/>
                <a:gd name="connsiteX166" fmla="*/ 939299 w 10375356"/>
                <a:gd name="connsiteY166" fmla="*/ 7666599 h 10394676"/>
                <a:gd name="connsiteX167" fmla="*/ 777537 w 10375356"/>
                <a:gd name="connsiteY167" fmla="*/ 7910765 h 10394676"/>
                <a:gd name="connsiteX168" fmla="*/ 769452 w 10375356"/>
                <a:gd name="connsiteY168" fmla="*/ 7913271 h 10394676"/>
                <a:gd name="connsiteX169" fmla="*/ 713980 w 10375356"/>
                <a:gd name="connsiteY169" fmla="*/ 7821961 h 10394676"/>
                <a:gd name="connsiteX170" fmla="*/ 739241 w 10375356"/>
                <a:gd name="connsiteY170" fmla="*/ 7816897 h 10394676"/>
                <a:gd name="connsiteX171" fmla="*/ 838662 w 10375356"/>
                <a:gd name="connsiteY171" fmla="*/ 7666599 h 10394676"/>
                <a:gd name="connsiteX172" fmla="*/ 675607 w 10375356"/>
                <a:gd name="connsiteY172" fmla="*/ 7503545 h 10394676"/>
                <a:gd name="connsiteX173" fmla="*/ 611973 w 10375356"/>
                <a:gd name="connsiteY173" fmla="*/ 7516304 h 10394676"/>
                <a:gd name="connsiteX174" fmla="*/ 564501 w 10375356"/>
                <a:gd name="connsiteY174" fmla="*/ 7548238 h 10394676"/>
                <a:gd name="connsiteX175" fmla="*/ 518632 w 10375356"/>
                <a:gd name="connsiteY175" fmla="*/ 7453019 h 10394676"/>
                <a:gd name="connsiteX176" fmla="*/ 526119 w 10375356"/>
                <a:gd name="connsiteY176" fmla="*/ 7446844 h 10394676"/>
                <a:gd name="connsiteX177" fmla="*/ 674333 w 10375356"/>
                <a:gd name="connsiteY177" fmla="*/ 7401633 h 10394676"/>
                <a:gd name="connsiteX178" fmla="*/ 8148089 w 10375356"/>
                <a:gd name="connsiteY178" fmla="*/ 7094869 h 10394676"/>
                <a:gd name="connsiteX179" fmla="*/ 8148089 w 10375356"/>
                <a:gd name="connsiteY179" fmla="*/ 7097179 h 10394676"/>
                <a:gd name="connsiteX180" fmla="*/ 8146686 w 10375356"/>
                <a:gd name="connsiteY180" fmla="*/ 7097179 h 10394676"/>
                <a:gd name="connsiteX181" fmla="*/ 8665281 w 10375356"/>
                <a:gd name="connsiteY181" fmla="*/ 6791449 h 10394676"/>
                <a:gd name="connsiteX182" fmla="*/ 9176104 w 10375356"/>
                <a:gd name="connsiteY182" fmla="*/ 6791449 h 10394676"/>
                <a:gd name="connsiteX183" fmla="*/ 9176104 w 10375356"/>
                <a:gd name="connsiteY183" fmla="*/ 6893357 h 10394676"/>
                <a:gd name="connsiteX184" fmla="*/ 8665281 w 10375356"/>
                <a:gd name="connsiteY184" fmla="*/ 6893357 h 10394676"/>
                <a:gd name="connsiteX185" fmla="*/ 2066681 w 10375356"/>
                <a:gd name="connsiteY185" fmla="*/ 6791449 h 10394676"/>
                <a:gd name="connsiteX186" fmla="*/ 2098040 w 10375356"/>
                <a:gd name="connsiteY186" fmla="*/ 6791449 h 10394676"/>
                <a:gd name="connsiteX187" fmla="*/ 2133958 w 10375356"/>
                <a:gd name="connsiteY187" fmla="*/ 6866010 h 10394676"/>
                <a:gd name="connsiteX188" fmla="*/ 2150572 w 10375356"/>
                <a:gd name="connsiteY188" fmla="*/ 6893357 h 10394676"/>
                <a:gd name="connsiteX189" fmla="*/ 2066681 w 10375356"/>
                <a:gd name="connsiteY189" fmla="*/ 6893357 h 10394676"/>
                <a:gd name="connsiteX190" fmla="*/ 419562 w 10375356"/>
                <a:gd name="connsiteY190" fmla="*/ 6791449 h 10394676"/>
                <a:gd name="connsiteX191" fmla="*/ 930385 w 10375356"/>
                <a:gd name="connsiteY191" fmla="*/ 6791449 h 10394676"/>
                <a:gd name="connsiteX192" fmla="*/ 930385 w 10375356"/>
                <a:gd name="connsiteY192" fmla="*/ 6893357 h 10394676"/>
                <a:gd name="connsiteX193" fmla="*/ 419562 w 10375356"/>
                <a:gd name="connsiteY193" fmla="*/ 6893357 h 10394676"/>
                <a:gd name="connsiteX194" fmla="*/ 9745526 w 10375356"/>
                <a:gd name="connsiteY194" fmla="*/ 6679349 h 10394676"/>
                <a:gd name="connsiteX195" fmla="*/ 9582469 w 10375356"/>
                <a:gd name="connsiteY195" fmla="*/ 6842405 h 10394676"/>
                <a:gd name="connsiteX196" fmla="*/ 9745526 w 10375356"/>
                <a:gd name="connsiteY196" fmla="*/ 7005461 h 10394676"/>
                <a:gd name="connsiteX197" fmla="*/ 9908582 w 10375356"/>
                <a:gd name="connsiteY197" fmla="*/ 6842405 h 10394676"/>
                <a:gd name="connsiteX198" fmla="*/ 9745526 w 10375356"/>
                <a:gd name="connsiteY198" fmla="*/ 6679349 h 10394676"/>
                <a:gd name="connsiteX199" fmla="*/ 1498533 w 10375356"/>
                <a:gd name="connsiteY199" fmla="*/ 6679349 h 10394676"/>
                <a:gd name="connsiteX200" fmla="*/ 1335477 w 10375356"/>
                <a:gd name="connsiteY200" fmla="*/ 6842405 h 10394676"/>
                <a:gd name="connsiteX201" fmla="*/ 1498533 w 10375356"/>
                <a:gd name="connsiteY201" fmla="*/ 7005461 h 10394676"/>
                <a:gd name="connsiteX202" fmla="*/ 1661588 w 10375356"/>
                <a:gd name="connsiteY202" fmla="*/ 6842405 h 10394676"/>
                <a:gd name="connsiteX203" fmla="*/ 1498533 w 10375356"/>
                <a:gd name="connsiteY203" fmla="*/ 6679349 h 10394676"/>
                <a:gd name="connsiteX204" fmla="*/ 9744252 w 10375356"/>
                <a:gd name="connsiteY204" fmla="*/ 6577439 h 10394676"/>
                <a:gd name="connsiteX205" fmla="*/ 10009217 w 10375356"/>
                <a:gd name="connsiteY205" fmla="*/ 6842405 h 10394676"/>
                <a:gd name="connsiteX206" fmla="*/ 9744252 w 10375356"/>
                <a:gd name="connsiteY206" fmla="*/ 7107369 h 10394676"/>
                <a:gd name="connsiteX207" fmla="*/ 9479286 w 10375356"/>
                <a:gd name="connsiteY207" fmla="*/ 6842405 h 10394676"/>
                <a:gd name="connsiteX208" fmla="*/ 9744252 w 10375356"/>
                <a:gd name="connsiteY208" fmla="*/ 6577439 h 10394676"/>
                <a:gd name="connsiteX209" fmla="*/ 1499807 w 10375356"/>
                <a:gd name="connsiteY209" fmla="*/ 6577439 h 10394676"/>
                <a:gd name="connsiteX210" fmla="*/ 1764771 w 10375356"/>
                <a:gd name="connsiteY210" fmla="*/ 6842405 h 10394676"/>
                <a:gd name="connsiteX211" fmla="*/ 1499807 w 10375356"/>
                <a:gd name="connsiteY211" fmla="*/ 7107369 h 10394676"/>
                <a:gd name="connsiteX212" fmla="*/ 1234841 w 10375356"/>
                <a:gd name="connsiteY212" fmla="*/ 6842405 h 10394676"/>
                <a:gd name="connsiteX213" fmla="*/ 1499807 w 10375356"/>
                <a:gd name="connsiteY213" fmla="*/ 6577439 h 10394676"/>
                <a:gd name="connsiteX214" fmla="*/ 8921331 w 10375356"/>
                <a:gd name="connsiteY214" fmla="*/ 5855153 h 10394676"/>
                <a:gd name="connsiteX215" fmla="*/ 8758274 w 10375356"/>
                <a:gd name="connsiteY215" fmla="*/ 6018209 h 10394676"/>
                <a:gd name="connsiteX216" fmla="*/ 8921331 w 10375356"/>
                <a:gd name="connsiteY216" fmla="*/ 6181265 h 10394676"/>
                <a:gd name="connsiteX217" fmla="*/ 9084385 w 10375356"/>
                <a:gd name="connsiteY217" fmla="*/ 6018209 h 10394676"/>
                <a:gd name="connsiteX218" fmla="*/ 8921331 w 10375356"/>
                <a:gd name="connsiteY218" fmla="*/ 5855153 h 10394676"/>
                <a:gd name="connsiteX219" fmla="*/ 674337 w 10375356"/>
                <a:gd name="connsiteY219" fmla="*/ 5855153 h 10394676"/>
                <a:gd name="connsiteX220" fmla="*/ 511282 w 10375356"/>
                <a:gd name="connsiteY220" fmla="*/ 6018209 h 10394676"/>
                <a:gd name="connsiteX221" fmla="*/ 674337 w 10375356"/>
                <a:gd name="connsiteY221" fmla="*/ 6181265 h 10394676"/>
                <a:gd name="connsiteX222" fmla="*/ 837393 w 10375356"/>
                <a:gd name="connsiteY222" fmla="*/ 6018209 h 10394676"/>
                <a:gd name="connsiteX223" fmla="*/ 674337 w 10375356"/>
                <a:gd name="connsiteY223" fmla="*/ 5855153 h 10394676"/>
                <a:gd name="connsiteX224" fmla="*/ 10375356 w 10375356"/>
                <a:gd name="connsiteY224" fmla="*/ 5854333 h 10394676"/>
                <a:gd name="connsiteX225" fmla="*/ 10334572 w 10375356"/>
                <a:gd name="connsiteY225" fmla="*/ 6121561 h 10394676"/>
                <a:gd name="connsiteX226" fmla="*/ 10334472 w 10375356"/>
                <a:gd name="connsiteY226" fmla="*/ 6121413 h 10394676"/>
                <a:gd name="connsiteX227" fmla="*/ 10313672 w 10375356"/>
                <a:gd name="connsiteY227" fmla="*/ 6018209 h 10394676"/>
                <a:gd name="connsiteX228" fmla="*/ 10334472 w 10375356"/>
                <a:gd name="connsiteY228" fmla="*/ 5915005 h 10394676"/>
                <a:gd name="connsiteX229" fmla="*/ 9694571 w 10375356"/>
                <a:gd name="connsiteY229" fmla="*/ 5763433 h 10394676"/>
                <a:gd name="connsiteX230" fmla="*/ 9796481 w 10375356"/>
                <a:gd name="connsiteY230" fmla="*/ 5763433 h 10394676"/>
                <a:gd name="connsiteX231" fmla="*/ 9796481 w 10375356"/>
                <a:gd name="connsiteY231" fmla="*/ 6274257 h 10394676"/>
                <a:gd name="connsiteX232" fmla="*/ 9694571 w 10375356"/>
                <a:gd name="connsiteY232" fmla="*/ 6274257 h 10394676"/>
                <a:gd name="connsiteX233" fmla="*/ 1447575 w 10375356"/>
                <a:gd name="connsiteY233" fmla="*/ 5763433 h 10394676"/>
                <a:gd name="connsiteX234" fmla="*/ 1549485 w 10375356"/>
                <a:gd name="connsiteY234" fmla="*/ 5763433 h 10394676"/>
                <a:gd name="connsiteX235" fmla="*/ 1549485 w 10375356"/>
                <a:gd name="connsiteY235" fmla="*/ 6274257 h 10394676"/>
                <a:gd name="connsiteX236" fmla="*/ 1447575 w 10375356"/>
                <a:gd name="connsiteY236" fmla="*/ 6274257 h 10394676"/>
                <a:gd name="connsiteX237" fmla="*/ 8922604 w 10375356"/>
                <a:gd name="connsiteY237" fmla="*/ 5753243 h 10394676"/>
                <a:gd name="connsiteX238" fmla="*/ 9187569 w 10375356"/>
                <a:gd name="connsiteY238" fmla="*/ 6018209 h 10394676"/>
                <a:gd name="connsiteX239" fmla="*/ 8922604 w 10375356"/>
                <a:gd name="connsiteY239" fmla="*/ 6283173 h 10394676"/>
                <a:gd name="connsiteX240" fmla="*/ 8657638 w 10375356"/>
                <a:gd name="connsiteY240" fmla="*/ 6018209 h 10394676"/>
                <a:gd name="connsiteX241" fmla="*/ 8922604 w 10375356"/>
                <a:gd name="connsiteY241" fmla="*/ 5753243 h 10394676"/>
                <a:gd name="connsiteX242" fmla="*/ 675610 w 10375356"/>
                <a:gd name="connsiteY242" fmla="*/ 5753243 h 10394676"/>
                <a:gd name="connsiteX243" fmla="*/ 940577 w 10375356"/>
                <a:gd name="connsiteY243" fmla="*/ 6018209 h 10394676"/>
                <a:gd name="connsiteX244" fmla="*/ 675610 w 10375356"/>
                <a:gd name="connsiteY244" fmla="*/ 6283173 h 10394676"/>
                <a:gd name="connsiteX245" fmla="*/ 410646 w 10375356"/>
                <a:gd name="connsiteY245" fmla="*/ 6018209 h 10394676"/>
                <a:gd name="connsiteX246" fmla="*/ 675610 w 10375356"/>
                <a:gd name="connsiteY246" fmla="*/ 5753243 h 10394676"/>
                <a:gd name="connsiteX247" fmla="*/ 9489477 w 10375356"/>
                <a:gd name="connsiteY247" fmla="*/ 5143057 h 10394676"/>
                <a:gd name="connsiteX248" fmla="*/ 10000300 w 10375356"/>
                <a:gd name="connsiteY248" fmla="*/ 5143057 h 10394676"/>
                <a:gd name="connsiteX249" fmla="*/ 10000300 w 10375356"/>
                <a:gd name="connsiteY249" fmla="*/ 5244969 h 10394676"/>
                <a:gd name="connsiteX250" fmla="*/ 9489477 w 10375356"/>
                <a:gd name="connsiteY250" fmla="*/ 5244969 h 10394676"/>
                <a:gd name="connsiteX251" fmla="*/ 8706634 w 10375356"/>
                <a:gd name="connsiteY251" fmla="*/ 5143057 h 10394676"/>
                <a:gd name="connsiteX252" fmla="*/ 9176104 w 10375356"/>
                <a:gd name="connsiteY252" fmla="*/ 5143057 h 10394676"/>
                <a:gd name="connsiteX253" fmla="*/ 9176104 w 10375356"/>
                <a:gd name="connsiteY253" fmla="*/ 5244969 h 10394676"/>
                <a:gd name="connsiteX254" fmla="*/ 8707060 w 10375356"/>
                <a:gd name="connsiteY254" fmla="*/ 5244969 h 10394676"/>
                <a:gd name="connsiteX255" fmla="*/ 8709420 w 10375356"/>
                <a:gd name="connsiteY255" fmla="*/ 5198237 h 10394676"/>
                <a:gd name="connsiteX256" fmla="*/ 1242485 w 10375356"/>
                <a:gd name="connsiteY256" fmla="*/ 5143057 h 10394676"/>
                <a:gd name="connsiteX257" fmla="*/ 1714449 w 10375356"/>
                <a:gd name="connsiteY257" fmla="*/ 5143057 h 10394676"/>
                <a:gd name="connsiteX258" fmla="*/ 1711662 w 10375356"/>
                <a:gd name="connsiteY258" fmla="*/ 5198237 h 10394676"/>
                <a:gd name="connsiteX259" fmla="*/ 1714022 w 10375356"/>
                <a:gd name="connsiteY259" fmla="*/ 5244969 h 10394676"/>
                <a:gd name="connsiteX260" fmla="*/ 1242485 w 10375356"/>
                <a:gd name="connsiteY260" fmla="*/ 5244969 h 10394676"/>
                <a:gd name="connsiteX261" fmla="*/ 2787 w 10375356"/>
                <a:gd name="connsiteY261" fmla="*/ 5143057 h 10394676"/>
                <a:gd name="connsiteX262" fmla="*/ 97302 w 10375356"/>
                <a:gd name="connsiteY262" fmla="*/ 5143057 h 10394676"/>
                <a:gd name="connsiteX263" fmla="*/ 97302 w 10375356"/>
                <a:gd name="connsiteY263" fmla="*/ 5244969 h 10394676"/>
                <a:gd name="connsiteX264" fmla="*/ 2360 w 10375356"/>
                <a:gd name="connsiteY264" fmla="*/ 5244969 h 10394676"/>
                <a:gd name="connsiteX265" fmla="*/ 0 w 10375356"/>
                <a:gd name="connsiteY265" fmla="*/ 5198237 h 10394676"/>
                <a:gd name="connsiteX266" fmla="*/ 623389 w 10375356"/>
                <a:gd name="connsiteY266" fmla="*/ 4939239 h 10394676"/>
                <a:gd name="connsiteX267" fmla="*/ 725299 w 10375356"/>
                <a:gd name="connsiteY267" fmla="*/ 4939239 h 10394676"/>
                <a:gd name="connsiteX268" fmla="*/ 725299 w 10375356"/>
                <a:gd name="connsiteY268" fmla="*/ 5450061 h 10394676"/>
                <a:gd name="connsiteX269" fmla="*/ 623389 w 10375356"/>
                <a:gd name="connsiteY269" fmla="*/ 5450061 h 10394676"/>
                <a:gd name="connsiteX270" fmla="*/ 86723 w 10375356"/>
                <a:gd name="connsiteY270" fmla="*/ 4273524 h 10394676"/>
                <a:gd name="connsiteX271" fmla="*/ 106218 w 10375356"/>
                <a:gd name="connsiteY271" fmla="*/ 4371093 h 10394676"/>
                <a:gd name="connsiteX272" fmla="*/ 85418 w 10375356"/>
                <a:gd name="connsiteY272" fmla="*/ 4474296 h 10394676"/>
                <a:gd name="connsiteX273" fmla="*/ 47492 w 10375356"/>
                <a:gd name="connsiteY273" fmla="*/ 4530579 h 10394676"/>
                <a:gd name="connsiteX274" fmla="*/ 9745526 w 10375356"/>
                <a:gd name="connsiteY274" fmla="*/ 4208037 h 10394676"/>
                <a:gd name="connsiteX275" fmla="*/ 9582469 w 10375356"/>
                <a:gd name="connsiteY275" fmla="*/ 4371093 h 10394676"/>
                <a:gd name="connsiteX276" fmla="*/ 9745526 w 10375356"/>
                <a:gd name="connsiteY276" fmla="*/ 4534147 h 10394676"/>
                <a:gd name="connsiteX277" fmla="*/ 9908582 w 10375356"/>
                <a:gd name="connsiteY277" fmla="*/ 4371093 h 10394676"/>
                <a:gd name="connsiteX278" fmla="*/ 9745526 w 10375356"/>
                <a:gd name="connsiteY278" fmla="*/ 4208037 h 10394676"/>
                <a:gd name="connsiteX279" fmla="*/ 1498539 w 10375356"/>
                <a:gd name="connsiteY279" fmla="*/ 4208037 h 10394676"/>
                <a:gd name="connsiteX280" fmla="*/ 1335482 w 10375356"/>
                <a:gd name="connsiteY280" fmla="*/ 4371093 h 10394676"/>
                <a:gd name="connsiteX281" fmla="*/ 1498539 w 10375356"/>
                <a:gd name="connsiteY281" fmla="*/ 4534147 h 10394676"/>
                <a:gd name="connsiteX282" fmla="*/ 1661593 w 10375356"/>
                <a:gd name="connsiteY282" fmla="*/ 4371093 h 10394676"/>
                <a:gd name="connsiteX283" fmla="*/ 1498539 w 10375356"/>
                <a:gd name="connsiteY283" fmla="*/ 4208037 h 10394676"/>
                <a:gd name="connsiteX284" fmla="*/ 8870376 w 10375356"/>
                <a:gd name="connsiteY284" fmla="*/ 4115043 h 10394676"/>
                <a:gd name="connsiteX285" fmla="*/ 8972285 w 10375356"/>
                <a:gd name="connsiteY285" fmla="*/ 4115043 h 10394676"/>
                <a:gd name="connsiteX286" fmla="*/ 8972285 w 10375356"/>
                <a:gd name="connsiteY286" fmla="*/ 4625865 h 10394676"/>
                <a:gd name="connsiteX287" fmla="*/ 8870376 w 10375356"/>
                <a:gd name="connsiteY287" fmla="*/ 4625865 h 10394676"/>
                <a:gd name="connsiteX288" fmla="*/ 623387 w 10375356"/>
                <a:gd name="connsiteY288" fmla="*/ 4115043 h 10394676"/>
                <a:gd name="connsiteX289" fmla="*/ 725297 w 10375356"/>
                <a:gd name="connsiteY289" fmla="*/ 4115043 h 10394676"/>
                <a:gd name="connsiteX290" fmla="*/ 725297 w 10375356"/>
                <a:gd name="connsiteY290" fmla="*/ 4625865 h 10394676"/>
                <a:gd name="connsiteX291" fmla="*/ 623387 w 10375356"/>
                <a:gd name="connsiteY291" fmla="*/ 4625865 h 10394676"/>
                <a:gd name="connsiteX292" fmla="*/ 9744252 w 10375356"/>
                <a:gd name="connsiteY292" fmla="*/ 4106125 h 10394676"/>
                <a:gd name="connsiteX293" fmla="*/ 10009217 w 10375356"/>
                <a:gd name="connsiteY293" fmla="*/ 4371093 h 10394676"/>
                <a:gd name="connsiteX294" fmla="*/ 9744252 w 10375356"/>
                <a:gd name="connsiteY294" fmla="*/ 4636057 h 10394676"/>
                <a:gd name="connsiteX295" fmla="*/ 9479286 w 10375356"/>
                <a:gd name="connsiteY295" fmla="*/ 4371093 h 10394676"/>
                <a:gd name="connsiteX296" fmla="*/ 9744252 w 10375356"/>
                <a:gd name="connsiteY296" fmla="*/ 4106125 h 10394676"/>
                <a:gd name="connsiteX297" fmla="*/ 1499812 w 10375356"/>
                <a:gd name="connsiteY297" fmla="*/ 4106125 h 10394676"/>
                <a:gd name="connsiteX298" fmla="*/ 1764778 w 10375356"/>
                <a:gd name="connsiteY298" fmla="*/ 4371093 h 10394676"/>
                <a:gd name="connsiteX299" fmla="*/ 1499812 w 10375356"/>
                <a:gd name="connsiteY299" fmla="*/ 4636057 h 10394676"/>
                <a:gd name="connsiteX300" fmla="*/ 1234846 w 10375356"/>
                <a:gd name="connsiteY300" fmla="*/ 4371093 h 10394676"/>
                <a:gd name="connsiteX301" fmla="*/ 1499812 w 10375356"/>
                <a:gd name="connsiteY301" fmla="*/ 4106125 h 10394676"/>
                <a:gd name="connsiteX302" fmla="*/ 9489477 w 10375356"/>
                <a:gd name="connsiteY302" fmla="*/ 3495941 h 10394676"/>
                <a:gd name="connsiteX303" fmla="*/ 10000300 w 10375356"/>
                <a:gd name="connsiteY303" fmla="*/ 3495941 h 10394676"/>
                <a:gd name="connsiteX304" fmla="*/ 10000300 w 10375356"/>
                <a:gd name="connsiteY304" fmla="*/ 3597851 h 10394676"/>
                <a:gd name="connsiteX305" fmla="*/ 9489477 w 10375356"/>
                <a:gd name="connsiteY305" fmla="*/ 3597851 h 10394676"/>
                <a:gd name="connsiteX306" fmla="*/ 2066685 w 10375356"/>
                <a:gd name="connsiteY306" fmla="*/ 3495941 h 10394676"/>
                <a:gd name="connsiteX307" fmla="*/ 2154931 w 10375356"/>
                <a:gd name="connsiteY307" fmla="*/ 3495941 h 10394676"/>
                <a:gd name="connsiteX308" fmla="*/ 2133958 w 10375356"/>
                <a:gd name="connsiteY308" fmla="*/ 3530464 h 10394676"/>
                <a:gd name="connsiteX309" fmla="*/ 2101496 w 10375356"/>
                <a:gd name="connsiteY309" fmla="*/ 3597851 h 10394676"/>
                <a:gd name="connsiteX310" fmla="*/ 2066685 w 10375356"/>
                <a:gd name="connsiteY310" fmla="*/ 3597851 h 10394676"/>
                <a:gd name="connsiteX311" fmla="*/ 674343 w 10375356"/>
                <a:gd name="connsiteY311" fmla="*/ 3383841 h 10394676"/>
                <a:gd name="connsiteX312" fmla="*/ 511289 w 10375356"/>
                <a:gd name="connsiteY312" fmla="*/ 3546897 h 10394676"/>
                <a:gd name="connsiteX313" fmla="*/ 674343 w 10375356"/>
                <a:gd name="connsiteY313" fmla="*/ 3709953 h 10394676"/>
                <a:gd name="connsiteX314" fmla="*/ 837399 w 10375356"/>
                <a:gd name="connsiteY314" fmla="*/ 3546897 h 10394676"/>
                <a:gd name="connsiteX315" fmla="*/ 674343 w 10375356"/>
                <a:gd name="connsiteY315" fmla="*/ 3383841 h 10394676"/>
                <a:gd name="connsiteX316" fmla="*/ 8870376 w 10375356"/>
                <a:gd name="connsiteY316" fmla="*/ 3292121 h 10394676"/>
                <a:gd name="connsiteX317" fmla="*/ 8972285 w 10375356"/>
                <a:gd name="connsiteY317" fmla="*/ 3292121 h 10394676"/>
                <a:gd name="connsiteX318" fmla="*/ 8972285 w 10375356"/>
                <a:gd name="connsiteY318" fmla="*/ 3802945 h 10394676"/>
                <a:gd name="connsiteX319" fmla="*/ 8870376 w 10375356"/>
                <a:gd name="connsiteY319" fmla="*/ 3802945 h 10394676"/>
                <a:gd name="connsiteX320" fmla="*/ 8142327 w 10375356"/>
                <a:gd name="connsiteY320" fmla="*/ 3292121 h 10394676"/>
                <a:gd name="connsiteX321" fmla="*/ 8148089 w 10375356"/>
                <a:gd name="connsiteY321" fmla="*/ 3292121 h 10394676"/>
                <a:gd name="connsiteX322" fmla="*/ 8148089 w 10375356"/>
                <a:gd name="connsiteY322" fmla="*/ 3301606 h 10394676"/>
                <a:gd name="connsiteX323" fmla="*/ 1447583 w 10375356"/>
                <a:gd name="connsiteY323" fmla="*/ 3292121 h 10394676"/>
                <a:gd name="connsiteX324" fmla="*/ 1549493 w 10375356"/>
                <a:gd name="connsiteY324" fmla="*/ 3292121 h 10394676"/>
                <a:gd name="connsiteX325" fmla="*/ 1549493 w 10375356"/>
                <a:gd name="connsiteY325" fmla="*/ 3802945 h 10394676"/>
                <a:gd name="connsiteX326" fmla="*/ 1447583 w 10375356"/>
                <a:gd name="connsiteY326" fmla="*/ 3802945 h 10394676"/>
                <a:gd name="connsiteX327" fmla="*/ 675617 w 10375356"/>
                <a:gd name="connsiteY327" fmla="*/ 3281931 h 10394676"/>
                <a:gd name="connsiteX328" fmla="*/ 940583 w 10375356"/>
                <a:gd name="connsiteY328" fmla="*/ 3546897 h 10394676"/>
                <a:gd name="connsiteX329" fmla="*/ 675617 w 10375356"/>
                <a:gd name="connsiteY329" fmla="*/ 3811861 h 10394676"/>
                <a:gd name="connsiteX330" fmla="*/ 410652 w 10375356"/>
                <a:gd name="connsiteY330" fmla="*/ 3546897 h 10394676"/>
                <a:gd name="connsiteX331" fmla="*/ 675617 w 10375356"/>
                <a:gd name="connsiteY331" fmla="*/ 3281931 h 10394676"/>
                <a:gd name="connsiteX332" fmla="*/ 1242482 w 10375356"/>
                <a:gd name="connsiteY332" fmla="*/ 2671745 h 10394676"/>
                <a:gd name="connsiteX333" fmla="*/ 1753305 w 10375356"/>
                <a:gd name="connsiteY333" fmla="*/ 2671745 h 10394676"/>
                <a:gd name="connsiteX334" fmla="*/ 1753305 w 10375356"/>
                <a:gd name="connsiteY334" fmla="*/ 2773657 h 10394676"/>
                <a:gd name="connsiteX335" fmla="*/ 1242482 w 10375356"/>
                <a:gd name="connsiteY335" fmla="*/ 2773657 h 10394676"/>
                <a:gd name="connsiteX336" fmla="*/ 8921331 w 10375356"/>
                <a:gd name="connsiteY336" fmla="*/ 2560919 h 10394676"/>
                <a:gd name="connsiteX337" fmla="*/ 8758275 w 10375356"/>
                <a:gd name="connsiteY337" fmla="*/ 2723975 h 10394676"/>
                <a:gd name="connsiteX338" fmla="*/ 8921331 w 10375356"/>
                <a:gd name="connsiteY338" fmla="*/ 2887029 h 10394676"/>
                <a:gd name="connsiteX339" fmla="*/ 9084386 w 10375356"/>
                <a:gd name="connsiteY339" fmla="*/ 2723975 h 10394676"/>
                <a:gd name="connsiteX340" fmla="*/ 8921331 w 10375356"/>
                <a:gd name="connsiteY340" fmla="*/ 2560919 h 10394676"/>
                <a:gd name="connsiteX341" fmla="*/ 2322726 w 10375356"/>
                <a:gd name="connsiteY341" fmla="*/ 2560919 h 10394676"/>
                <a:gd name="connsiteX342" fmla="*/ 2159671 w 10375356"/>
                <a:gd name="connsiteY342" fmla="*/ 2723975 h 10394676"/>
                <a:gd name="connsiteX343" fmla="*/ 2322726 w 10375356"/>
                <a:gd name="connsiteY343" fmla="*/ 2887029 h 10394676"/>
                <a:gd name="connsiteX344" fmla="*/ 2485782 w 10375356"/>
                <a:gd name="connsiteY344" fmla="*/ 2723975 h 10394676"/>
                <a:gd name="connsiteX345" fmla="*/ 2322726 w 10375356"/>
                <a:gd name="connsiteY345" fmla="*/ 2560919 h 10394676"/>
                <a:gd name="connsiteX346" fmla="*/ 9694571 w 10375356"/>
                <a:gd name="connsiteY346" fmla="*/ 2553886 h 10394676"/>
                <a:gd name="connsiteX347" fmla="*/ 9792198 w 10375356"/>
                <a:gd name="connsiteY347" fmla="*/ 2714584 h 10394676"/>
                <a:gd name="connsiteX348" fmla="*/ 9796481 w 10375356"/>
                <a:gd name="connsiteY348" fmla="*/ 2723476 h 10394676"/>
                <a:gd name="connsiteX349" fmla="*/ 9796481 w 10375356"/>
                <a:gd name="connsiteY349" fmla="*/ 2978749 h 10394676"/>
                <a:gd name="connsiteX350" fmla="*/ 9694571 w 10375356"/>
                <a:gd name="connsiteY350" fmla="*/ 2978749 h 10394676"/>
                <a:gd name="connsiteX351" fmla="*/ 772671 w 10375356"/>
                <a:gd name="connsiteY351" fmla="*/ 2477905 h 10394676"/>
                <a:gd name="connsiteX352" fmla="*/ 778813 w 10375356"/>
                <a:gd name="connsiteY352" fmla="*/ 2479809 h 10394676"/>
                <a:gd name="connsiteX353" fmla="*/ 940575 w 10375356"/>
                <a:gd name="connsiteY353" fmla="*/ 2723975 h 10394676"/>
                <a:gd name="connsiteX354" fmla="*/ 675608 w 10375356"/>
                <a:gd name="connsiteY354" fmla="*/ 2988941 h 10394676"/>
                <a:gd name="connsiteX355" fmla="*/ 527394 w 10375356"/>
                <a:gd name="connsiteY355" fmla="*/ 2942835 h 10394676"/>
                <a:gd name="connsiteX356" fmla="*/ 521341 w 10375356"/>
                <a:gd name="connsiteY356" fmla="*/ 2937832 h 10394676"/>
                <a:gd name="connsiteX357" fmla="*/ 566336 w 10375356"/>
                <a:gd name="connsiteY357" fmla="*/ 2844427 h 10394676"/>
                <a:gd name="connsiteX358" fmla="*/ 610701 w 10375356"/>
                <a:gd name="connsiteY358" fmla="*/ 2874271 h 10394676"/>
                <a:gd name="connsiteX359" fmla="*/ 674334 w 10375356"/>
                <a:gd name="connsiteY359" fmla="*/ 2887029 h 10394676"/>
                <a:gd name="connsiteX360" fmla="*/ 837390 w 10375356"/>
                <a:gd name="connsiteY360" fmla="*/ 2723975 h 10394676"/>
                <a:gd name="connsiteX361" fmla="*/ 737968 w 10375356"/>
                <a:gd name="connsiteY361" fmla="*/ 2573678 h 10394676"/>
                <a:gd name="connsiteX362" fmla="*/ 717037 w 10375356"/>
                <a:gd name="connsiteY362" fmla="*/ 2569481 h 10394676"/>
                <a:gd name="connsiteX363" fmla="*/ 8046180 w 10375356"/>
                <a:gd name="connsiteY363" fmla="*/ 2467925 h 10394676"/>
                <a:gd name="connsiteX364" fmla="*/ 8148089 w 10375356"/>
                <a:gd name="connsiteY364" fmla="*/ 2467925 h 10394676"/>
                <a:gd name="connsiteX365" fmla="*/ 8148089 w 10375356"/>
                <a:gd name="connsiteY365" fmla="*/ 2978749 h 10394676"/>
                <a:gd name="connsiteX366" fmla="*/ 8046180 w 10375356"/>
                <a:gd name="connsiteY366" fmla="*/ 2978749 h 10394676"/>
                <a:gd name="connsiteX367" fmla="*/ 8921331 w 10375356"/>
                <a:gd name="connsiteY367" fmla="*/ 2459009 h 10394676"/>
                <a:gd name="connsiteX368" fmla="*/ 9186296 w 10375356"/>
                <a:gd name="connsiteY368" fmla="*/ 2723975 h 10394676"/>
                <a:gd name="connsiteX369" fmla="*/ 8921331 w 10375356"/>
                <a:gd name="connsiteY369" fmla="*/ 2988941 h 10394676"/>
                <a:gd name="connsiteX370" fmla="*/ 8656365 w 10375356"/>
                <a:gd name="connsiteY370" fmla="*/ 2723975 h 10394676"/>
                <a:gd name="connsiteX371" fmla="*/ 8921331 w 10375356"/>
                <a:gd name="connsiteY371" fmla="*/ 2459009 h 10394676"/>
                <a:gd name="connsiteX372" fmla="*/ 2322726 w 10375356"/>
                <a:gd name="connsiteY372" fmla="*/ 2459009 h 10394676"/>
                <a:gd name="connsiteX373" fmla="*/ 2587692 w 10375356"/>
                <a:gd name="connsiteY373" fmla="*/ 2723975 h 10394676"/>
                <a:gd name="connsiteX374" fmla="*/ 2322726 w 10375356"/>
                <a:gd name="connsiteY374" fmla="*/ 2988941 h 10394676"/>
                <a:gd name="connsiteX375" fmla="*/ 2057761 w 10375356"/>
                <a:gd name="connsiteY375" fmla="*/ 2723975 h 10394676"/>
                <a:gd name="connsiteX376" fmla="*/ 2322726 w 10375356"/>
                <a:gd name="connsiteY376" fmla="*/ 2459009 h 10394676"/>
                <a:gd name="connsiteX377" fmla="*/ 7842360 w 10375356"/>
                <a:gd name="connsiteY377" fmla="*/ 1848825 h 10394676"/>
                <a:gd name="connsiteX378" fmla="*/ 8353182 w 10375356"/>
                <a:gd name="connsiteY378" fmla="*/ 1848825 h 10394676"/>
                <a:gd name="connsiteX379" fmla="*/ 8353182 w 10375356"/>
                <a:gd name="connsiteY379" fmla="*/ 1950733 h 10394676"/>
                <a:gd name="connsiteX380" fmla="*/ 7842360 w 10375356"/>
                <a:gd name="connsiteY380" fmla="*/ 1950733 h 10394676"/>
                <a:gd name="connsiteX381" fmla="*/ 6223404 w 10375356"/>
                <a:gd name="connsiteY381" fmla="*/ 1848825 h 10394676"/>
                <a:gd name="connsiteX382" fmla="*/ 6704792 w 10375356"/>
                <a:gd name="connsiteY382" fmla="*/ 1848825 h 10394676"/>
                <a:gd name="connsiteX383" fmla="*/ 6704792 w 10375356"/>
                <a:gd name="connsiteY383" fmla="*/ 1950733 h 10394676"/>
                <a:gd name="connsiteX384" fmla="*/ 6512646 w 10375356"/>
                <a:gd name="connsiteY384" fmla="*/ 1950733 h 10394676"/>
                <a:gd name="connsiteX385" fmla="*/ 6413573 w 10375356"/>
                <a:gd name="connsiteY385" fmla="*/ 1911670 h 10394676"/>
                <a:gd name="connsiteX386" fmla="*/ 6251001 w 10375356"/>
                <a:gd name="connsiteY386" fmla="*/ 1856662 h 10394676"/>
                <a:gd name="connsiteX387" fmla="*/ 2890884 w 10375356"/>
                <a:gd name="connsiteY387" fmla="*/ 1848825 h 10394676"/>
                <a:gd name="connsiteX388" fmla="*/ 3401707 w 10375356"/>
                <a:gd name="connsiteY388" fmla="*/ 1848825 h 10394676"/>
                <a:gd name="connsiteX389" fmla="*/ 3401707 w 10375356"/>
                <a:gd name="connsiteY389" fmla="*/ 1950733 h 10394676"/>
                <a:gd name="connsiteX390" fmla="*/ 2890884 w 10375356"/>
                <a:gd name="connsiteY390" fmla="*/ 1950733 h 10394676"/>
                <a:gd name="connsiteX391" fmla="*/ 1242493 w 10375356"/>
                <a:gd name="connsiteY391" fmla="*/ 1848825 h 10394676"/>
                <a:gd name="connsiteX392" fmla="*/ 1753316 w 10375356"/>
                <a:gd name="connsiteY392" fmla="*/ 1848825 h 10394676"/>
                <a:gd name="connsiteX393" fmla="*/ 1753316 w 10375356"/>
                <a:gd name="connsiteY393" fmla="*/ 1950733 h 10394676"/>
                <a:gd name="connsiteX394" fmla="*/ 1242493 w 10375356"/>
                <a:gd name="connsiteY394" fmla="*/ 1950733 h 10394676"/>
                <a:gd name="connsiteX395" fmla="*/ 8921331 w 10375356"/>
                <a:gd name="connsiteY395" fmla="*/ 1736725 h 10394676"/>
                <a:gd name="connsiteX396" fmla="*/ 8758275 w 10375356"/>
                <a:gd name="connsiteY396" fmla="*/ 1899781 h 10394676"/>
                <a:gd name="connsiteX397" fmla="*/ 8921331 w 10375356"/>
                <a:gd name="connsiteY397" fmla="*/ 2062835 h 10394676"/>
                <a:gd name="connsiteX398" fmla="*/ 9084386 w 10375356"/>
                <a:gd name="connsiteY398" fmla="*/ 1899781 h 10394676"/>
                <a:gd name="connsiteX399" fmla="*/ 8921331 w 10375356"/>
                <a:gd name="connsiteY399" fmla="*/ 1736725 h 10394676"/>
                <a:gd name="connsiteX400" fmla="*/ 7223258 w 10375356"/>
                <a:gd name="connsiteY400" fmla="*/ 1643731 h 10394676"/>
                <a:gd name="connsiteX401" fmla="*/ 7325168 w 10375356"/>
                <a:gd name="connsiteY401" fmla="*/ 1643731 h 10394676"/>
                <a:gd name="connsiteX402" fmla="*/ 7325168 w 10375356"/>
                <a:gd name="connsiteY402" fmla="*/ 2154553 h 10394676"/>
                <a:gd name="connsiteX403" fmla="*/ 7223258 w 10375356"/>
                <a:gd name="connsiteY403" fmla="*/ 2154553 h 10394676"/>
                <a:gd name="connsiteX404" fmla="*/ 2271782 w 10375356"/>
                <a:gd name="connsiteY404" fmla="*/ 1643731 h 10394676"/>
                <a:gd name="connsiteX405" fmla="*/ 2373691 w 10375356"/>
                <a:gd name="connsiteY405" fmla="*/ 1643731 h 10394676"/>
                <a:gd name="connsiteX406" fmla="*/ 2373691 w 10375356"/>
                <a:gd name="connsiteY406" fmla="*/ 2154553 h 10394676"/>
                <a:gd name="connsiteX407" fmla="*/ 2271782 w 10375356"/>
                <a:gd name="connsiteY407" fmla="*/ 2154553 h 10394676"/>
                <a:gd name="connsiteX408" fmla="*/ 8921331 w 10375356"/>
                <a:gd name="connsiteY408" fmla="*/ 1634813 h 10394676"/>
                <a:gd name="connsiteX409" fmla="*/ 9024534 w 10375356"/>
                <a:gd name="connsiteY409" fmla="*/ 1655614 h 10394676"/>
                <a:gd name="connsiteX410" fmla="*/ 9036119 w 10375356"/>
                <a:gd name="connsiteY410" fmla="*/ 1661896 h 10394676"/>
                <a:gd name="connsiteX411" fmla="*/ 9067478 w 10375356"/>
                <a:gd name="connsiteY411" fmla="*/ 1694788 h 10394676"/>
                <a:gd name="connsiteX412" fmla="*/ 9168482 w 10375356"/>
                <a:gd name="connsiteY412" fmla="*/ 1811390 h 10394676"/>
                <a:gd name="connsiteX413" fmla="*/ 9186296 w 10375356"/>
                <a:gd name="connsiteY413" fmla="*/ 1899781 h 10394676"/>
                <a:gd name="connsiteX414" fmla="*/ 8921331 w 10375356"/>
                <a:gd name="connsiteY414" fmla="*/ 2164745 h 10394676"/>
                <a:gd name="connsiteX415" fmla="*/ 8656365 w 10375356"/>
                <a:gd name="connsiteY415" fmla="*/ 1899781 h 10394676"/>
                <a:gd name="connsiteX416" fmla="*/ 8921331 w 10375356"/>
                <a:gd name="connsiteY416" fmla="*/ 1634813 h 10394676"/>
                <a:gd name="connsiteX417" fmla="*/ 3969851 w 10375356"/>
                <a:gd name="connsiteY417" fmla="*/ 1634813 h 10394676"/>
                <a:gd name="connsiteX418" fmla="*/ 4214017 w 10375356"/>
                <a:gd name="connsiteY418" fmla="*/ 1796577 h 10394676"/>
                <a:gd name="connsiteX419" fmla="*/ 4223093 w 10375356"/>
                <a:gd name="connsiteY419" fmla="*/ 1841608 h 10394676"/>
                <a:gd name="connsiteX420" fmla="*/ 4170081 w 10375356"/>
                <a:gd name="connsiteY420" fmla="*/ 1856662 h 10394676"/>
                <a:gd name="connsiteX421" fmla="*/ 4127174 w 10375356"/>
                <a:gd name="connsiteY421" fmla="*/ 1871180 h 10394676"/>
                <a:gd name="connsiteX422" fmla="*/ 4120150 w 10375356"/>
                <a:gd name="connsiteY422" fmla="*/ 1836147 h 10394676"/>
                <a:gd name="connsiteX423" fmla="*/ 3969851 w 10375356"/>
                <a:gd name="connsiteY423" fmla="*/ 1736725 h 10394676"/>
                <a:gd name="connsiteX424" fmla="*/ 3806796 w 10375356"/>
                <a:gd name="connsiteY424" fmla="*/ 1899781 h 10394676"/>
                <a:gd name="connsiteX425" fmla="*/ 3819555 w 10375356"/>
                <a:gd name="connsiteY425" fmla="*/ 1963414 h 10394676"/>
                <a:gd name="connsiteX426" fmla="*/ 3832208 w 10375356"/>
                <a:gd name="connsiteY426" fmla="*/ 1982224 h 10394676"/>
                <a:gd name="connsiteX427" fmla="*/ 3741230 w 10375356"/>
                <a:gd name="connsiteY427" fmla="*/ 2026051 h 10394676"/>
                <a:gd name="connsiteX428" fmla="*/ 3725686 w 10375356"/>
                <a:gd name="connsiteY428" fmla="*/ 2002984 h 10394676"/>
                <a:gd name="connsiteX429" fmla="*/ 3704886 w 10375356"/>
                <a:gd name="connsiteY429" fmla="*/ 1899781 h 10394676"/>
                <a:gd name="connsiteX430" fmla="*/ 3969851 w 10375356"/>
                <a:gd name="connsiteY430" fmla="*/ 1634813 h 10394676"/>
                <a:gd name="connsiteX431" fmla="*/ 7842360 w 10375356"/>
                <a:gd name="connsiteY431" fmla="*/ 1024629 h 10394676"/>
                <a:gd name="connsiteX432" fmla="*/ 8330359 w 10375356"/>
                <a:gd name="connsiteY432" fmla="*/ 1024629 h 10394676"/>
                <a:gd name="connsiteX433" fmla="*/ 8353182 w 10375356"/>
                <a:gd name="connsiteY433" fmla="*/ 1042565 h 10394676"/>
                <a:gd name="connsiteX434" fmla="*/ 8353182 w 10375356"/>
                <a:gd name="connsiteY434" fmla="*/ 1126539 h 10394676"/>
                <a:gd name="connsiteX435" fmla="*/ 7842360 w 10375356"/>
                <a:gd name="connsiteY435" fmla="*/ 1126539 h 10394676"/>
                <a:gd name="connsiteX436" fmla="*/ 5371048 w 10375356"/>
                <a:gd name="connsiteY436" fmla="*/ 1024629 h 10394676"/>
                <a:gd name="connsiteX437" fmla="*/ 5881870 w 10375356"/>
                <a:gd name="connsiteY437" fmla="*/ 1024629 h 10394676"/>
                <a:gd name="connsiteX438" fmla="*/ 5881870 w 10375356"/>
                <a:gd name="connsiteY438" fmla="*/ 1126539 h 10394676"/>
                <a:gd name="connsiteX439" fmla="*/ 5371048 w 10375356"/>
                <a:gd name="connsiteY439" fmla="*/ 1126539 h 10394676"/>
                <a:gd name="connsiteX440" fmla="*/ 4538001 w 10375356"/>
                <a:gd name="connsiteY440" fmla="*/ 1024629 h 10394676"/>
                <a:gd name="connsiteX441" fmla="*/ 5048825 w 10375356"/>
                <a:gd name="connsiteY441" fmla="*/ 1024629 h 10394676"/>
                <a:gd name="connsiteX442" fmla="*/ 5048825 w 10375356"/>
                <a:gd name="connsiteY442" fmla="*/ 1126539 h 10394676"/>
                <a:gd name="connsiteX443" fmla="*/ 4538001 w 10375356"/>
                <a:gd name="connsiteY443" fmla="*/ 1126539 h 10394676"/>
                <a:gd name="connsiteX444" fmla="*/ 2890886 w 10375356"/>
                <a:gd name="connsiteY444" fmla="*/ 1024629 h 10394676"/>
                <a:gd name="connsiteX445" fmla="*/ 3401709 w 10375356"/>
                <a:gd name="connsiteY445" fmla="*/ 1024629 h 10394676"/>
                <a:gd name="connsiteX446" fmla="*/ 3401709 w 10375356"/>
                <a:gd name="connsiteY446" fmla="*/ 1126539 h 10394676"/>
                <a:gd name="connsiteX447" fmla="*/ 2890886 w 10375356"/>
                <a:gd name="connsiteY447" fmla="*/ 1126539 h 10394676"/>
                <a:gd name="connsiteX448" fmla="*/ 6450017 w 10375356"/>
                <a:gd name="connsiteY448" fmla="*/ 912529 h 10394676"/>
                <a:gd name="connsiteX449" fmla="*/ 6286962 w 10375356"/>
                <a:gd name="connsiteY449" fmla="*/ 1075585 h 10394676"/>
                <a:gd name="connsiteX450" fmla="*/ 6450017 w 10375356"/>
                <a:gd name="connsiteY450" fmla="*/ 1238639 h 10394676"/>
                <a:gd name="connsiteX451" fmla="*/ 6613073 w 10375356"/>
                <a:gd name="connsiteY451" fmla="*/ 1075585 h 10394676"/>
                <a:gd name="connsiteX452" fmla="*/ 6450017 w 10375356"/>
                <a:gd name="connsiteY452" fmla="*/ 912529 h 10394676"/>
                <a:gd name="connsiteX453" fmla="*/ 2373692 w 10375356"/>
                <a:gd name="connsiteY453" fmla="*/ 828587 h 10394676"/>
                <a:gd name="connsiteX454" fmla="*/ 2373692 w 10375356"/>
                <a:gd name="connsiteY454" fmla="*/ 1331633 h 10394676"/>
                <a:gd name="connsiteX455" fmla="*/ 2271782 w 10375356"/>
                <a:gd name="connsiteY455" fmla="*/ 1331633 h 10394676"/>
                <a:gd name="connsiteX456" fmla="*/ 2271782 w 10375356"/>
                <a:gd name="connsiteY456" fmla="*/ 895706 h 10394676"/>
                <a:gd name="connsiteX457" fmla="*/ 2297278 w 10375356"/>
                <a:gd name="connsiteY457" fmla="*/ 877575 h 10394676"/>
                <a:gd name="connsiteX458" fmla="*/ 7223258 w 10375356"/>
                <a:gd name="connsiteY458" fmla="*/ 820809 h 10394676"/>
                <a:gd name="connsiteX459" fmla="*/ 7325168 w 10375356"/>
                <a:gd name="connsiteY459" fmla="*/ 820809 h 10394676"/>
                <a:gd name="connsiteX460" fmla="*/ 7325168 w 10375356"/>
                <a:gd name="connsiteY460" fmla="*/ 1331633 h 10394676"/>
                <a:gd name="connsiteX461" fmla="*/ 7223258 w 10375356"/>
                <a:gd name="connsiteY461" fmla="*/ 1331633 h 10394676"/>
                <a:gd name="connsiteX462" fmla="*/ 3918899 w 10375356"/>
                <a:gd name="connsiteY462" fmla="*/ 820809 h 10394676"/>
                <a:gd name="connsiteX463" fmla="*/ 4020808 w 10375356"/>
                <a:gd name="connsiteY463" fmla="*/ 820809 h 10394676"/>
                <a:gd name="connsiteX464" fmla="*/ 4020808 w 10375356"/>
                <a:gd name="connsiteY464" fmla="*/ 1331633 h 10394676"/>
                <a:gd name="connsiteX465" fmla="*/ 3918899 w 10375356"/>
                <a:gd name="connsiteY465" fmla="*/ 1331633 h 10394676"/>
                <a:gd name="connsiteX466" fmla="*/ 6451292 w 10375356"/>
                <a:gd name="connsiteY466" fmla="*/ 810617 h 10394676"/>
                <a:gd name="connsiteX467" fmla="*/ 6716257 w 10375356"/>
                <a:gd name="connsiteY467" fmla="*/ 1075585 h 10394676"/>
                <a:gd name="connsiteX468" fmla="*/ 6451292 w 10375356"/>
                <a:gd name="connsiteY468" fmla="*/ 1340549 h 10394676"/>
                <a:gd name="connsiteX469" fmla="*/ 6186326 w 10375356"/>
                <a:gd name="connsiteY469" fmla="*/ 1075585 h 10394676"/>
                <a:gd name="connsiteX470" fmla="*/ 6451292 w 10375356"/>
                <a:gd name="connsiteY470" fmla="*/ 810617 h 10394676"/>
                <a:gd name="connsiteX471" fmla="*/ 6399063 w 10375356"/>
                <a:gd name="connsiteY471" fmla="*/ 125503 h 10394676"/>
                <a:gd name="connsiteX472" fmla="*/ 6500973 w 10375356"/>
                <a:gd name="connsiteY472" fmla="*/ 149024 h 10394676"/>
                <a:gd name="connsiteX473" fmla="*/ 6500973 w 10375356"/>
                <a:gd name="connsiteY473" fmla="*/ 508711 h 10394676"/>
                <a:gd name="connsiteX474" fmla="*/ 6399063 w 10375356"/>
                <a:gd name="connsiteY474" fmla="*/ 508711 h 10394676"/>
                <a:gd name="connsiteX475" fmla="*/ 4743094 w 10375356"/>
                <a:gd name="connsiteY475" fmla="*/ 101073 h 10394676"/>
                <a:gd name="connsiteX476" fmla="*/ 4845004 w 10375356"/>
                <a:gd name="connsiteY476" fmla="*/ 101073 h 10394676"/>
                <a:gd name="connsiteX477" fmla="*/ 4845004 w 10375356"/>
                <a:gd name="connsiteY477" fmla="*/ 508711 h 10394676"/>
                <a:gd name="connsiteX478" fmla="*/ 4743094 w 10375356"/>
                <a:gd name="connsiteY478" fmla="*/ 508711 h 10394676"/>
                <a:gd name="connsiteX479" fmla="*/ 4174642 w 10375356"/>
                <a:gd name="connsiteY479" fmla="*/ 91020 h 10394676"/>
                <a:gd name="connsiteX480" fmla="*/ 4214021 w 10375356"/>
                <a:gd name="connsiteY480" fmla="*/ 149458 h 10394676"/>
                <a:gd name="connsiteX481" fmla="*/ 4234820 w 10375356"/>
                <a:gd name="connsiteY481" fmla="*/ 252661 h 10394676"/>
                <a:gd name="connsiteX482" fmla="*/ 3969854 w 10375356"/>
                <a:gd name="connsiteY482" fmla="*/ 517629 h 10394676"/>
                <a:gd name="connsiteX483" fmla="*/ 3704889 w 10375356"/>
                <a:gd name="connsiteY483" fmla="*/ 252661 h 10394676"/>
                <a:gd name="connsiteX484" fmla="*/ 3714113 w 10375356"/>
                <a:gd name="connsiteY484" fmla="*/ 206895 h 10394676"/>
                <a:gd name="connsiteX485" fmla="*/ 3829928 w 10375356"/>
                <a:gd name="connsiteY485" fmla="*/ 174007 h 10394676"/>
                <a:gd name="connsiteX486" fmla="*/ 3819737 w 10375356"/>
                <a:gd name="connsiteY486" fmla="*/ 189028 h 10394676"/>
                <a:gd name="connsiteX487" fmla="*/ 3806799 w 10375356"/>
                <a:gd name="connsiteY487" fmla="*/ 252661 h 10394676"/>
                <a:gd name="connsiteX488" fmla="*/ 3969854 w 10375356"/>
                <a:gd name="connsiteY488" fmla="*/ 415717 h 10394676"/>
                <a:gd name="connsiteX489" fmla="*/ 4132911 w 10375356"/>
                <a:gd name="connsiteY489" fmla="*/ 252661 h 10394676"/>
                <a:gd name="connsiteX490" fmla="*/ 4085300 w 10375356"/>
                <a:gd name="connsiteY490" fmla="*/ 137218 h 10394676"/>
                <a:gd name="connsiteX491" fmla="*/ 4056168 w 10375356"/>
                <a:gd name="connsiteY491" fmla="*/ 117622 h 10394676"/>
                <a:gd name="connsiteX492" fmla="*/ 4160436 w 10375356"/>
                <a:gd name="connsiteY492" fmla="*/ 93557 h 10394676"/>
                <a:gd name="connsiteX493" fmla="*/ 5625822 w 10375356"/>
                <a:gd name="connsiteY493" fmla="*/ 89607 h 10394676"/>
                <a:gd name="connsiteX494" fmla="*/ 5462766 w 10375356"/>
                <a:gd name="connsiteY494" fmla="*/ 252661 h 10394676"/>
                <a:gd name="connsiteX495" fmla="*/ 5625822 w 10375356"/>
                <a:gd name="connsiteY495" fmla="*/ 415717 h 10394676"/>
                <a:gd name="connsiteX496" fmla="*/ 5788878 w 10375356"/>
                <a:gd name="connsiteY496" fmla="*/ 252661 h 10394676"/>
                <a:gd name="connsiteX497" fmla="*/ 5625822 w 10375356"/>
                <a:gd name="connsiteY497" fmla="*/ 89607 h 10394676"/>
                <a:gd name="connsiteX498" fmla="*/ 5551305 w 10375356"/>
                <a:gd name="connsiteY498" fmla="*/ 0 h 10394676"/>
                <a:gd name="connsiteX499" fmla="*/ 5741268 w 10375356"/>
                <a:gd name="connsiteY499" fmla="*/ 14445 h 10394676"/>
                <a:gd name="connsiteX500" fmla="*/ 5775311 w 10375356"/>
                <a:gd name="connsiteY500" fmla="*/ 32907 h 10394676"/>
                <a:gd name="connsiteX501" fmla="*/ 5892062 w 10375356"/>
                <a:gd name="connsiteY501" fmla="*/ 252661 h 10394676"/>
                <a:gd name="connsiteX502" fmla="*/ 5627096 w 10375356"/>
                <a:gd name="connsiteY502" fmla="*/ 517629 h 10394676"/>
                <a:gd name="connsiteX503" fmla="*/ 5362131 w 10375356"/>
                <a:gd name="connsiteY503" fmla="*/ 252661 h 10394676"/>
                <a:gd name="connsiteX504" fmla="*/ 5523893 w 10375356"/>
                <a:gd name="connsiteY504" fmla="*/ 8497 h 1039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</a:cxnLst>
              <a:rect l="l" t="t" r="r" b="b"/>
              <a:pathLst>
                <a:path w="10375356" h="10394676">
                  <a:moveTo>
                    <a:pt x="6202887" y="10086957"/>
                  </a:moveTo>
                  <a:lnTo>
                    <a:pt x="6713710" y="10086957"/>
                  </a:lnTo>
                  <a:lnTo>
                    <a:pt x="6713710" y="10187665"/>
                  </a:lnTo>
                  <a:lnTo>
                    <a:pt x="6709472" y="10188869"/>
                  </a:lnTo>
                  <a:lnTo>
                    <a:pt x="6202887" y="10188869"/>
                  </a:lnTo>
                  <a:close/>
                  <a:moveTo>
                    <a:pt x="5634740" y="9974857"/>
                  </a:moveTo>
                  <a:cubicBezTo>
                    <a:pt x="5544295" y="9974857"/>
                    <a:pt x="5471684" y="10047469"/>
                    <a:pt x="5471684" y="10137913"/>
                  </a:cubicBezTo>
                  <a:cubicBezTo>
                    <a:pt x="5471684" y="10228357"/>
                    <a:pt x="5544295" y="10300969"/>
                    <a:pt x="5634740" y="10300969"/>
                  </a:cubicBezTo>
                  <a:cubicBezTo>
                    <a:pt x="5725185" y="10299693"/>
                    <a:pt x="5797795" y="10227083"/>
                    <a:pt x="5797795" y="10137913"/>
                  </a:cubicBezTo>
                  <a:cubicBezTo>
                    <a:pt x="5797795" y="10047469"/>
                    <a:pt x="5725185" y="9974857"/>
                    <a:pt x="5634740" y="9974857"/>
                  </a:cubicBezTo>
                  <a:close/>
                  <a:moveTo>
                    <a:pt x="7232175" y="9881865"/>
                  </a:moveTo>
                  <a:lnTo>
                    <a:pt x="7334085" y="9881865"/>
                  </a:lnTo>
                  <a:lnTo>
                    <a:pt x="7334085" y="9956193"/>
                  </a:lnTo>
                  <a:lnTo>
                    <a:pt x="7238719" y="9999307"/>
                  </a:lnTo>
                  <a:lnTo>
                    <a:pt x="7232175" y="10001887"/>
                  </a:lnTo>
                  <a:close/>
                  <a:moveTo>
                    <a:pt x="4751991" y="9881865"/>
                  </a:moveTo>
                  <a:lnTo>
                    <a:pt x="4853901" y="9881865"/>
                  </a:lnTo>
                  <a:lnTo>
                    <a:pt x="4853901" y="10290777"/>
                  </a:lnTo>
                  <a:lnTo>
                    <a:pt x="4751991" y="10290777"/>
                  </a:lnTo>
                  <a:close/>
                  <a:moveTo>
                    <a:pt x="5636013" y="9872947"/>
                  </a:moveTo>
                  <a:cubicBezTo>
                    <a:pt x="5782509" y="9872947"/>
                    <a:pt x="5900978" y="9991417"/>
                    <a:pt x="5900978" y="10137913"/>
                  </a:cubicBezTo>
                  <a:cubicBezTo>
                    <a:pt x="5900978" y="10247785"/>
                    <a:pt x="5834339" y="10341891"/>
                    <a:pt x="5739217" y="10382077"/>
                  </a:cubicBezTo>
                  <a:lnTo>
                    <a:pt x="5738756" y="10382220"/>
                  </a:lnTo>
                  <a:lnTo>
                    <a:pt x="5574951" y="10394676"/>
                  </a:lnTo>
                  <a:lnTo>
                    <a:pt x="5532810" y="10381361"/>
                  </a:lnTo>
                  <a:cubicBezTo>
                    <a:pt x="5437688" y="10340697"/>
                    <a:pt x="5371048" y="10246828"/>
                    <a:pt x="5371048" y="10137913"/>
                  </a:cubicBezTo>
                  <a:cubicBezTo>
                    <a:pt x="5371048" y="9991417"/>
                    <a:pt x="5489518" y="9872947"/>
                    <a:pt x="5636013" y="9872947"/>
                  </a:cubicBezTo>
                  <a:close/>
                  <a:moveTo>
                    <a:pt x="3978752" y="9872947"/>
                  </a:moveTo>
                  <a:cubicBezTo>
                    <a:pt x="4125249" y="9872947"/>
                    <a:pt x="4243718" y="9991417"/>
                    <a:pt x="4243718" y="10137913"/>
                  </a:cubicBezTo>
                  <a:cubicBezTo>
                    <a:pt x="4243718" y="10174537"/>
                    <a:pt x="4236314" y="10209409"/>
                    <a:pt x="4222918" y="10241117"/>
                  </a:cubicBezTo>
                  <a:lnTo>
                    <a:pt x="4179036" y="10306239"/>
                  </a:lnTo>
                  <a:lnTo>
                    <a:pt x="4160436" y="10302917"/>
                  </a:lnTo>
                  <a:lnTo>
                    <a:pt x="4056265" y="10278875"/>
                  </a:lnTo>
                  <a:lnTo>
                    <a:pt x="4094199" y="10253357"/>
                  </a:lnTo>
                  <a:cubicBezTo>
                    <a:pt x="4123657" y="10223899"/>
                    <a:pt x="4141809" y="10183135"/>
                    <a:pt x="4141809" y="10137913"/>
                  </a:cubicBezTo>
                  <a:cubicBezTo>
                    <a:pt x="4141809" y="10047469"/>
                    <a:pt x="4069199" y="9974857"/>
                    <a:pt x="3978752" y="9974857"/>
                  </a:cubicBezTo>
                  <a:cubicBezTo>
                    <a:pt x="3889581" y="9974857"/>
                    <a:pt x="3815698" y="10047469"/>
                    <a:pt x="3815698" y="10137913"/>
                  </a:cubicBezTo>
                  <a:cubicBezTo>
                    <a:pt x="3815698" y="10160524"/>
                    <a:pt x="3820237" y="10182021"/>
                    <a:pt x="3828457" y="10201547"/>
                  </a:cubicBezTo>
                  <a:lnTo>
                    <a:pt x="3845505" y="10226891"/>
                  </a:lnTo>
                  <a:lnTo>
                    <a:pt x="3724813" y="10192618"/>
                  </a:lnTo>
                  <a:lnTo>
                    <a:pt x="3713787" y="10137913"/>
                  </a:lnTo>
                  <a:cubicBezTo>
                    <a:pt x="3713787" y="9991417"/>
                    <a:pt x="3832257" y="9872947"/>
                    <a:pt x="3978752" y="9872947"/>
                  </a:cubicBezTo>
                  <a:close/>
                  <a:moveTo>
                    <a:pt x="3155832" y="9872947"/>
                  </a:moveTo>
                  <a:cubicBezTo>
                    <a:pt x="3265704" y="9872947"/>
                    <a:pt x="3359812" y="9939586"/>
                    <a:pt x="3399999" y="10034709"/>
                  </a:cubicBezTo>
                  <a:lnTo>
                    <a:pt x="3411035" y="10089469"/>
                  </a:lnTo>
                  <a:lnTo>
                    <a:pt x="3280434" y="10037975"/>
                  </a:lnTo>
                  <a:lnTo>
                    <a:pt x="3270003" y="10022469"/>
                  </a:lnTo>
                  <a:cubicBezTo>
                    <a:pt x="3240545" y="9993010"/>
                    <a:pt x="3199781" y="9974857"/>
                    <a:pt x="3154558" y="9974857"/>
                  </a:cubicBezTo>
                  <a:lnTo>
                    <a:pt x="3136355" y="9978507"/>
                  </a:lnTo>
                  <a:lnTo>
                    <a:pt x="3005935" y="9919545"/>
                  </a:lnTo>
                  <a:lnTo>
                    <a:pt x="3007618" y="9918157"/>
                  </a:lnTo>
                  <a:cubicBezTo>
                    <a:pt x="3049902" y="9889607"/>
                    <a:pt x="3100897" y="9872947"/>
                    <a:pt x="3155832" y="9872947"/>
                  </a:cubicBezTo>
                  <a:close/>
                  <a:moveTo>
                    <a:pt x="7851277" y="9262761"/>
                  </a:moveTo>
                  <a:lnTo>
                    <a:pt x="8362099" y="9262761"/>
                  </a:lnTo>
                  <a:lnTo>
                    <a:pt x="8362099" y="9346902"/>
                  </a:lnTo>
                  <a:lnTo>
                    <a:pt x="8339488" y="9364671"/>
                  </a:lnTo>
                  <a:lnTo>
                    <a:pt x="7851277" y="9364671"/>
                  </a:lnTo>
                  <a:close/>
                  <a:moveTo>
                    <a:pt x="5379965" y="9262761"/>
                  </a:moveTo>
                  <a:lnTo>
                    <a:pt x="5890787" y="9262761"/>
                  </a:lnTo>
                  <a:lnTo>
                    <a:pt x="5890787" y="9364671"/>
                  </a:lnTo>
                  <a:lnTo>
                    <a:pt x="5379965" y="9364671"/>
                  </a:lnTo>
                  <a:close/>
                  <a:moveTo>
                    <a:pt x="4546902" y="9262761"/>
                  </a:moveTo>
                  <a:lnTo>
                    <a:pt x="5057725" y="9262761"/>
                  </a:lnTo>
                  <a:lnTo>
                    <a:pt x="5057725" y="9364671"/>
                  </a:lnTo>
                  <a:lnTo>
                    <a:pt x="4546902" y="9364671"/>
                  </a:lnTo>
                  <a:close/>
                  <a:moveTo>
                    <a:pt x="2899787" y="9262761"/>
                  </a:moveTo>
                  <a:lnTo>
                    <a:pt x="3410609" y="9262761"/>
                  </a:lnTo>
                  <a:lnTo>
                    <a:pt x="3410609" y="9364671"/>
                  </a:lnTo>
                  <a:lnTo>
                    <a:pt x="2899787" y="9364671"/>
                  </a:lnTo>
                  <a:close/>
                  <a:moveTo>
                    <a:pt x="6450017" y="9150661"/>
                  </a:moveTo>
                  <a:cubicBezTo>
                    <a:pt x="6359572" y="9150661"/>
                    <a:pt x="6286962" y="9223273"/>
                    <a:pt x="6286962" y="9313717"/>
                  </a:cubicBezTo>
                  <a:cubicBezTo>
                    <a:pt x="6286962" y="9404161"/>
                    <a:pt x="6359572" y="9476773"/>
                    <a:pt x="6450017" y="9476773"/>
                  </a:cubicBezTo>
                  <a:cubicBezTo>
                    <a:pt x="6540463" y="9476773"/>
                    <a:pt x="6613073" y="9404161"/>
                    <a:pt x="6613073" y="9313717"/>
                  </a:cubicBezTo>
                  <a:cubicBezTo>
                    <a:pt x="6613073" y="9223273"/>
                    <a:pt x="6540463" y="9150661"/>
                    <a:pt x="6450017" y="9150661"/>
                  </a:cubicBezTo>
                  <a:close/>
                  <a:moveTo>
                    <a:pt x="3978754" y="9150661"/>
                  </a:moveTo>
                  <a:cubicBezTo>
                    <a:pt x="3889583" y="9150661"/>
                    <a:pt x="3815700" y="9223273"/>
                    <a:pt x="3815700" y="9313717"/>
                  </a:cubicBezTo>
                  <a:cubicBezTo>
                    <a:pt x="3815700" y="9404161"/>
                    <a:pt x="3888310" y="9476773"/>
                    <a:pt x="3978754" y="9476773"/>
                  </a:cubicBezTo>
                  <a:cubicBezTo>
                    <a:pt x="4069201" y="9476773"/>
                    <a:pt x="4141811" y="9404161"/>
                    <a:pt x="4141811" y="9313717"/>
                  </a:cubicBezTo>
                  <a:cubicBezTo>
                    <a:pt x="4141811" y="9223273"/>
                    <a:pt x="4069201" y="9150661"/>
                    <a:pt x="3978754" y="9150661"/>
                  </a:cubicBezTo>
                  <a:close/>
                  <a:moveTo>
                    <a:pt x="7232175" y="9057669"/>
                  </a:moveTo>
                  <a:lnTo>
                    <a:pt x="7334085" y="9057669"/>
                  </a:lnTo>
                  <a:lnTo>
                    <a:pt x="7334085" y="9568493"/>
                  </a:lnTo>
                  <a:lnTo>
                    <a:pt x="7232175" y="9568493"/>
                  </a:lnTo>
                  <a:close/>
                  <a:moveTo>
                    <a:pt x="2280685" y="9057669"/>
                  </a:moveTo>
                  <a:lnTo>
                    <a:pt x="2382595" y="9057669"/>
                  </a:lnTo>
                  <a:lnTo>
                    <a:pt x="2382595" y="9568493"/>
                  </a:lnTo>
                  <a:lnTo>
                    <a:pt x="2374638" y="9568493"/>
                  </a:lnTo>
                  <a:lnTo>
                    <a:pt x="2297278" y="9518899"/>
                  </a:lnTo>
                  <a:lnTo>
                    <a:pt x="2280685" y="9507099"/>
                  </a:lnTo>
                  <a:close/>
                  <a:moveTo>
                    <a:pt x="6450017" y="9048751"/>
                  </a:moveTo>
                  <a:cubicBezTo>
                    <a:pt x="6596513" y="9048751"/>
                    <a:pt x="6714982" y="9167221"/>
                    <a:pt x="6714982" y="9313717"/>
                  </a:cubicBezTo>
                  <a:cubicBezTo>
                    <a:pt x="6714982" y="9460213"/>
                    <a:pt x="6596513" y="9578681"/>
                    <a:pt x="6450017" y="9578681"/>
                  </a:cubicBezTo>
                  <a:cubicBezTo>
                    <a:pt x="6303522" y="9578681"/>
                    <a:pt x="6185052" y="9460213"/>
                    <a:pt x="6185052" y="9313717"/>
                  </a:cubicBezTo>
                  <a:cubicBezTo>
                    <a:pt x="6185052" y="9167221"/>
                    <a:pt x="6303522" y="9048751"/>
                    <a:pt x="6450017" y="9048751"/>
                  </a:cubicBezTo>
                  <a:close/>
                  <a:moveTo>
                    <a:pt x="3978754" y="9048751"/>
                  </a:moveTo>
                  <a:cubicBezTo>
                    <a:pt x="4125250" y="9048751"/>
                    <a:pt x="4243720" y="9167221"/>
                    <a:pt x="4243720" y="9313717"/>
                  </a:cubicBezTo>
                  <a:cubicBezTo>
                    <a:pt x="4243720" y="9460213"/>
                    <a:pt x="4125250" y="9578681"/>
                    <a:pt x="3978754" y="9578681"/>
                  </a:cubicBezTo>
                  <a:cubicBezTo>
                    <a:pt x="3832260" y="9578681"/>
                    <a:pt x="3713789" y="9460213"/>
                    <a:pt x="3713789" y="9313717"/>
                  </a:cubicBezTo>
                  <a:cubicBezTo>
                    <a:pt x="3713789" y="9167221"/>
                    <a:pt x="3832260" y="9048751"/>
                    <a:pt x="3978754" y="9048751"/>
                  </a:cubicBezTo>
                  <a:close/>
                  <a:moveTo>
                    <a:pt x="5676776" y="8665264"/>
                  </a:moveTo>
                  <a:lnTo>
                    <a:pt x="5676776" y="8745569"/>
                  </a:lnTo>
                  <a:lnTo>
                    <a:pt x="5574867" y="8745569"/>
                  </a:lnTo>
                  <a:lnTo>
                    <a:pt x="5574867" y="8678214"/>
                  </a:lnTo>
                  <a:close/>
                  <a:moveTo>
                    <a:pt x="3918880" y="8449859"/>
                  </a:moveTo>
                  <a:lnTo>
                    <a:pt x="4007509" y="8484804"/>
                  </a:lnTo>
                  <a:lnTo>
                    <a:pt x="4020789" y="8489298"/>
                  </a:lnTo>
                  <a:lnTo>
                    <a:pt x="4020789" y="8745569"/>
                  </a:lnTo>
                  <a:lnTo>
                    <a:pt x="3918880" y="8745569"/>
                  </a:lnTo>
                  <a:close/>
                  <a:moveTo>
                    <a:pt x="7018165" y="8438567"/>
                  </a:moveTo>
                  <a:lnTo>
                    <a:pt x="7528988" y="8438567"/>
                  </a:lnTo>
                  <a:lnTo>
                    <a:pt x="7528988" y="8540477"/>
                  </a:lnTo>
                  <a:lnTo>
                    <a:pt x="7018165" y="8540477"/>
                  </a:lnTo>
                  <a:close/>
                  <a:moveTo>
                    <a:pt x="6530840" y="8438567"/>
                  </a:moveTo>
                  <a:lnTo>
                    <a:pt x="6697148" y="8438567"/>
                  </a:lnTo>
                  <a:lnTo>
                    <a:pt x="6697148" y="8540477"/>
                  </a:lnTo>
                  <a:lnTo>
                    <a:pt x="6248661" y="8540477"/>
                  </a:lnTo>
                  <a:lnTo>
                    <a:pt x="6251001" y="8539813"/>
                  </a:lnTo>
                  <a:cubicBezTo>
                    <a:pt x="6305781" y="8522774"/>
                    <a:pt x="6359984" y="8504426"/>
                    <a:pt x="6413573" y="8484804"/>
                  </a:cubicBezTo>
                  <a:close/>
                  <a:moveTo>
                    <a:pt x="2066673" y="8438567"/>
                  </a:moveTo>
                  <a:lnTo>
                    <a:pt x="2577496" y="8438567"/>
                  </a:lnTo>
                  <a:lnTo>
                    <a:pt x="2577496" y="8540477"/>
                  </a:lnTo>
                  <a:lnTo>
                    <a:pt x="2066673" y="8540477"/>
                  </a:lnTo>
                  <a:close/>
                  <a:moveTo>
                    <a:pt x="1234837" y="8438567"/>
                  </a:moveTo>
                  <a:lnTo>
                    <a:pt x="1745660" y="8438567"/>
                  </a:lnTo>
                  <a:lnTo>
                    <a:pt x="1745660" y="8540477"/>
                  </a:lnTo>
                  <a:lnTo>
                    <a:pt x="1234837" y="8540477"/>
                  </a:lnTo>
                  <a:close/>
                  <a:moveTo>
                    <a:pt x="8870376" y="8234747"/>
                  </a:moveTo>
                  <a:lnTo>
                    <a:pt x="8972285" y="8234747"/>
                  </a:lnTo>
                  <a:lnTo>
                    <a:pt x="8972285" y="8745569"/>
                  </a:lnTo>
                  <a:lnTo>
                    <a:pt x="8870376" y="8745569"/>
                  </a:lnTo>
                  <a:close/>
                  <a:moveTo>
                    <a:pt x="8046180" y="8234747"/>
                  </a:moveTo>
                  <a:lnTo>
                    <a:pt x="8148089" y="8234747"/>
                  </a:lnTo>
                  <a:lnTo>
                    <a:pt x="8148089" y="8745569"/>
                  </a:lnTo>
                  <a:lnTo>
                    <a:pt x="8046180" y="8745569"/>
                  </a:lnTo>
                  <a:close/>
                  <a:moveTo>
                    <a:pt x="3094685" y="8234747"/>
                  </a:moveTo>
                  <a:lnTo>
                    <a:pt x="3196595" y="8234747"/>
                  </a:lnTo>
                  <a:lnTo>
                    <a:pt x="3196595" y="8745569"/>
                  </a:lnTo>
                  <a:lnTo>
                    <a:pt x="3094685" y="8745569"/>
                  </a:lnTo>
                  <a:close/>
                  <a:moveTo>
                    <a:pt x="9489477" y="7615645"/>
                  </a:moveTo>
                  <a:lnTo>
                    <a:pt x="9824110" y="7615645"/>
                  </a:lnTo>
                  <a:lnTo>
                    <a:pt x="9792198" y="7681890"/>
                  </a:lnTo>
                  <a:lnTo>
                    <a:pt x="9770531" y="7717555"/>
                  </a:lnTo>
                  <a:lnTo>
                    <a:pt x="9489477" y="7717555"/>
                  </a:lnTo>
                  <a:close/>
                  <a:moveTo>
                    <a:pt x="8666557" y="7615645"/>
                  </a:moveTo>
                  <a:lnTo>
                    <a:pt x="9177379" y="7615645"/>
                  </a:lnTo>
                  <a:lnTo>
                    <a:pt x="9177379" y="7717555"/>
                  </a:lnTo>
                  <a:lnTo>
                    <a:pt x="8666557" y="7717555"/>
                  </a:lnTo>
                  <a:close/>
                  <a:moveTo>
                    <a:pt x="2322721" y="7503545"/>
                  </a:moveTo>
                  <a:cubicBezTo>
                    <a:pt x="2232276" y="7503545"/>
                    <a:pt x="2159665" y="7576155"/>
                    <a:pt x="2159665" y="7666599"/>
                  </a:cubicBezTo>
                  <a:cubicBezTo>
                    <a:pt x="2159665" y="7757045"/>
                    <a:pt x="2232276" y="7829655"/>
                    <a:pt x="2322721" y="7829655"/>
                  </a:cubicBezTo>
                  <a:cubicBezTo>
                    <a:pt x="2411891" y="7828381"/>
                    <a:pt x="2485776" y="7755769"/>
                    <a:pt x="2485776" y="7666599"/>
                  </a:cubicBezTo>
                  <a:cubicBezTo>
                    <a:pt x="2485776" y="7576155"/>
                    <a:pt x="2413167" y="7503545"/>
                    <a:pt x="2322721" y="7503545"/>
                  </a:cubicBezTo>
                  <a:close/>
                  <a:moveTo>
                    <a:pt x="8046180" y="7410553"/>
                  </a:moveTo>
                  <a:lnTo>
                    <a:pt x="8148089" y="7410553"/>
                  </a:lnTo>
                  <a:lnTo>
                    <a:pt x="8148089" y="7921375"/>
                  </a:lnTo>
                  <a:lnTo>
                    <a:pt x="8046180" y="7921375"/>
                  </a:lnTo>
                  <a:close/>
                  <a:moveTo>
                    <a:pt x="1447573" y="7410553"/>
                  </a:moveTo>
                  <a:lnTo>
                    <a:pt x="1549483" y="7410553"/>
                  </a:lnTo>
                  <a:lnTo>
                    <a:pt x="1549483" y="7921375"/>
                  </a:lnTo>
                  <a:lnTo>
                    <a:pt x="1447573" y="7921375"/>
                  </a:lnTo>
                  <a:close/>
                  <a:moveTo>
                    <a:pt x="2322721" y="7401633"/>
                  </a:moveTo>
                  <a:cubicBezTo>
                    <a:pt x="2469216" y="7401633"/>
                    <a:pt x="2587686" y="7520105"/>
                    <a:pt x="2587686" y="7666599"/>
                  </a:cubicBezTo>
                  <a:cubicBezTo>
                    <a:pt x="2587686" y="7813095"/>
                    <a:pt x="2469216" y="7931565"/>
                    <a:pt x="2322721" y="7931565"/>
                  </a:cubicBezTo>
                  <a:cubicBezTo>
                    <a:pt x="2176225" y="7930291"/>
                    <a:pt x="2057755" y="7811821"/>
                    <a:pt x="2057755" y="7666599"/>
                  </a:cubicBezTo>
                  <a:cubicBezTo>
                    <a:pt x="2057755" y="7520105"/>
                    <a:pt x="2176225" y="7401633"/>
                    <a:pt x="2322721" y="7401633"/>
                  </a:cubicBezTo>
                  <a:close/>
                  <a:moveTo>
                    <a:pt x="674333" y="7401633"/>
                  </a:moveTo>
                  <a:cubicBezTo>
                    <a:pt x="820829" y="7401633"/>
                    <a:pt x="939299" y="7520105"/>
                    <a:pt x="939299" y="7666599"/>
                  </a:cubicBezTo>
                  <a:cubicBezTo>
                    <a:pt x="939299" y="7776471"/>
                    <a:pt x="872660" y="7870579"/>
                    <a:pt x="777537" y="7910765"/>
                  </a:cubicBezTo>
                  <a:lnTo>
                    <a:pt x="769452" y="7913271"/>
                  </a:lnTo>
                  <a:lnTo>
                    <a:pt x="713980" y="7821961"/>
                  </a:lnTo>
                  <a:lnTo>
                    <a:pt x="739241" y="7816897"/>
                  </a:lnTo>
                  <a:cubicBezTo>
                    <a:pt x="797819" y="7792235"/>
                    <a:pt x="838662" y="7734434"/>
                    <a:pt x="838662" y="7666599"/>
                  </a:cubicBezTo>
                  <a:cubicBezTo>
                    <a:pt x="838662" y="7576155"/>
                    <a:pt x="766051" y="7503545"/>
                    <a:pt x="675607" y="7503545"/>
                  </a:cubicBezTo>
                  <a:cubicBezTo>
                    <a:pt x="652996" y="7503545"/>
                    <a:pt x="631500" y="7508083"/>
                    <a:pt x="611973" y="7516304"/>
                  </a:cubicBezTo>
                  <a:lnTo>
                    <a:pt x="564501" y="7548238"/>
                  </a:lnTo>
                  <a:lnTo>
                    <a:pt x="518632" y="7453019"/>
                  </a:lnTo>
                  <a:lnTo>
                    <a:pt x="526119" y="7446844"/>
                  </a:lnTo>
                  <a:cubicBezTo>
                    <a:pt x="568403" y="7418293"/>
                    <a:pt x="619397" y="7401633"/>
                    <a:pt x="674333" y="7401633"/>
                  </a:cubicBezTo>
                  <a:close/>
                  <a:moveTo>
                    <a:pt x="8148089" y="7094869"/>
                  </a:moveTo>
                  <a:lnTo>
                    <a:pt x="8148089" y="7097179"/>
                  </a:lnTo>
                  <a:lnTo>
                    <a:pt x="8146686" y="7097179"/>
                  </a:lnTo>
                  <a:close/>
                  <a:moveTo>
                    <a:pt x="8665281" y="6791449"/>
                  </a:moveTo>
                  <a:lnTo>
                    <a:pt x="9176104" y="6791449"/>
                  </a:lnTo>
                  <a:lnTo>
                    <a:pt x="9176104" y="6893357"/>
                  </a:lnTo>
                  <a:lnTo>
                    <a:pt x="8665281" y="6893357"/>
                  </a:lnTo>
                  <a:close/>
                  <a:moveTo>
                    <a:pt x="2066681" y="6791449"/>
                  </a:moveTo>
                  <a:lnTo>
                    <a:pt x="2098040" y="6791449"/>
                  </a:lnTo>
                  <a:lnTo>
                    <a:pt x="2133958" y="6866010"/>
                  </a:lnTo>
                  <a:lnTo>
                    <a:pt x="2150572" y="6893357"/>
                  </a:lnTo>
                  <a:lnTo>
                    <a:pt x="2066681" y="6893357"/>
                  </a:lnTo>
                  <a:close/>
                  <a:moveTo>
                    <a:pt x="419562" y="6791449"/>
                  </a:moveTo>
                  <a:lnTo>
                    <a:pt x="930385" y="6791449"/>
                  </a:lnTo>
                  <a:lnTo>
                    <a:pt x="930385" y="6893357"/>
                  </a:lnTo>
                  <a:lnTo>
                    <a:pt x="419562" y="6893357"/>
                  </a:lnTo>
                  <a:close/>
                  <a:moveTo>
                    <a:pt x="9745526" y="6679349"/>
                  </a:moveTo>
                  <a:cubicBezTo>
                    <a:pt x="9655081" y="6679349"/>
                    <a:pt x="9582469" y="6751961"/>
                    <a:pt x="9582469" y="6842405"/>
                  </a:cubicBezTo>
                  <a:cubicBezTo>
                    <a:pt x="9582469" y="6932849"/>
                    <a:pt x="9655081" y="7005461"/>
                    <a:pt x="9745526" y="7005461"/>
                  </a:cubicBezTo>
                  <a:cubicBezTo>
                    <a:pt x="9835970" y="7005461"/>
                    <a:pt x="9908582" y="6932849"/>
                    <a:pt x="9908582" y="6842405"/>
                  </a:cubicBezTo>
                  <a:cubicBezTo>
                    <a:pt x="9908582" y="6751961"/>
                    <a:pt x="9835970" y="6679349"/>
                    <a:pt x="9745526" y="6679349"/>
                  </a:cubicBezTo>
                  <a:close/>
                  <a:moveTo>
                    <a:pt x="1498533" y="6679349"/>
                  </a:moveTo>
                  <a:cubicBezTo>
                    <a:pt x="1408088" y="6679349"/>
                    <a:pt x="1335477" y="6751961"/>
                    <a:pt x="1335477" y="6842405"/>
                  </a:cubicBezTo>
                  <a:cubicBezTo>
                    <a:pt x="1335477" y="6932849"/>
                    <a:pt x="1408088" y="7005461"/>
                    <a:pt x="1498533" y="7005461"/>
                  </a:cubicBezTo>
                  <a:cubicBezTo>
                    <a:pt x="1588977" y="7005461"/>
                    <a:pt x="1661588" y="6932849"/>
                    <a:pt x="1661588" y="6842405"/>
                  </a:cubicBezTo>
                  <a:cubicBezTo>
                    <a:pt x="1661588" y="6751961"/>
                    <a:pt x="1588977" y="6679349"/>
                    <a:pt x="1498533" y="6679349"/>
                  </a:cubicBezTo>
                  <a:close/>
                  <a:moveTo>
                    <a:pt x="9744252" y="6577439"/>
                  </a:moveTo>
                  <a:cubicBezTo>
                    <a:pt x="9890747" y="6577439"/>
                    <a:pt x="10009217" y="6695909"/>
                    <a:pt x="10009217" y="6842405"/>
                  </a:cubicBezTo>
                  <a:cubicBezTo>
                    <a:pt x="10009217" y="6988901"/>
                    <a:pt x="9890747" y="7107369"/>
                    <a:pt x="9744252" y="7107369"/>
                  </a:cubicBezTo>
                  <a:cubicBezTo>
                    <a:pt x="9597757" y="7107369"/>
                    <a:pt x="9479286" y="6988901"/>
                    <a:pt x="9479286" y="6842405"/>
                  </a:cubicBezTo>
                  <a:cubicBezTo>
                    <a:pt x="9479286" y="6695909"/>
                    <a:pt x="9597757" y="6577439"/>
                    <a:pt x="9744252" y="6577439"/>
                  </a:cubicBezTo>
                  <a:close/>
                  <a:moveTo>
                    <a:pt x="1499807" y="6577439"/>
                  </a:moveTo>
                  <a:cubicBezTo>
                    <a:pt x="1646302" y="6577439"/>
                    <a:pt x="1764771" y="6695909"/>
                    <a:pt x="1764771" y="6842405"/>
                  </a:cubicBezTo>
                  <a:cubicBezTo>
                    <a:pt x="1764771" y="6988901"/>
                    <a:pt x="1646302" y="7107369"/>
                    <a:pt x="1499807" y="7107369"/>
                  </a:cubicBezTo>
                  <a:cubicBezTo>
                    <a:pt x="1353311" y="7107369"/>
                    <a:pt x="1234841" y="6988901"/>
                    <a:pt x="1234841" y="6842405"/>
                  </a:cubicBezTo>
                  <a:cubicBezTo>
                    <a:pt x="1234841" y="6695909"/>
                    <a:pt x="1353311" y="6577439"/>
                    <a:pt x="1499807" y="6577439"/>
                  </a:cubicBezTo>
                  <a:close/>
                  <a:moveTo>
                    <a:pt x="8921331" y="5855153"/>
                  </a:moveTo>
                  <a:cubicBezTo>
                    <a:pt x="8830884" y="5855153"/>
                    <a:pt x="8758274" y="5927763"/>
                    <a:pt x="8758274" y="6018209"/>
                  </a:cubicBezTo>
                  <a:cubicBezTo>
                    <a:pt x="8758274" y="6108653"/>
                    <a:pt x="8830884" y="6181265"/>
                    <a:pt x="8921331" y="6181265"/>
                  </a:cubicBezTo>
                  <a:cubicBezTo>
                    <a:pt x="9011775" y="6181265"/>
                    <a:pt x="9084385" y="6108653"/>
                    <a:pt x="9084385" y="6018209"/>
                  </a:cubicBezTo>
                  <a:cubicBezTo>
                    <a:pt x="9084385" y="5927763"/>
                    <a:pt x="9011775" y="5855153"/>
                    <a:pt x="8921331" y="5855153"/>
                  </a:cubicBezTo>
                  <a:close/>
                  <a:moveTo>
                    <a:pt x="674337" y="5855153"/>
                  </a:moveTo>
                  <a:cubicBezTo>
                    <a:pt x="583892" y="5855153"/>
                    <a:pt x="511282" y="5927763"/>
                    <a:pt x="511282" y="6018209"/>
                  </a:cubicBezTo>
                  <a:cubicBezTo>
                    <a:pt x="511282" y="6108653"/>
                    <a:pt x="583892" y="6181265"/>
                    <a:pt x="674337" y="6181265"/>
                  </a:cubicBezTo>
                  <a:cubicBezTo>
                    <a:pt x="764782" y="6181265"/>
                    <a:pt x="837393" y="6108653"/>
                    <a:pt x="837393" y="6018209"/>
                  </a:cubicBezTo>
                  <a:cubicBezTo>
                    <a:pt x="837393" y="5927763"/>
                    <a:pt x="764782" y="5855153"/>
                    <a:pt x="674337" y="5855153"/>
                  </a:cubicBezTo>
                  <a:close/>
                  <a:moveTo>
                    <a:pt x="10375356" y="5854333"/>
                  </a:moveTo>
                  <a:lnTo>
                    <a:pt x="10334572" y="6121561"/>
                  </a:lnTo>
                  <a:lnTo>
                    <a:pt x="10334472" y="6121413"/>
                  </a:lnTo>
                  <a:cubicBezTo>
                    <a:pt x="10321077" y="6089706"/>
                    <a:pt x="10313672" y="6054833"/>
                    <a:pt x="10313672" y="6018209"/>
                  </a:cubicBezTo>
                  <a:cubicBezTo>
                    <a:pt x="10313672" y="5981585"/>
                    <a:pt x="10321077" y="5946713"/>
                    <a:pt x="10334472" y="5915005"/>
                  </a:cubicBezTo>
                  <a:close/>
                  <a:moveTo>
                    <a:pt x="9694571" y="5763433"/>
                  </a:moveTo>
                  <a:lnTo>
                    <a:pt x="9796481" y="5763433"/>
                  </a:lnTo>
                  <a:lnTo>
                    <a:pt x="9796481" y="6274257"/>
                  </a:lnTo>
                  <a:lnTo>
                    <a:pt x="9694571" y="6274257"/>
                  </a:lnTo>
                  <a:close/>
                  <a:moveTo>
                    <a:pt x="1447575" y="5763433"/>
                  </a:moveTo>
                  <a:lnTo>
                    <a:pt x="1549485" y="5763433"/>
                  </a:lnTo>
                  <a:lnTo>
                    <a:pt x="1549485" y="6274257"/>
                  </a:lnTo>
                  <a:lnTo>
                    <a:pt x="1447575" y="6274257"/>
                  </a:lnTo>
                  <a:close/>
                  <a:moveTo>
                    <a:pt x="8922604" y="5753243"/>
                  </a:moveTo>
                  <a:cubicBezTo>
                    <a:pt x="9069099" y="5753243"/>
                    <a:pt x="9187569" y="5871713"/>
                    <a:pt x="9187569" y="6018209"/>
                  </a:cubicBezTo>
                  <a:cubicBezTo>
                    <a:pt x="9187569" y="6164705"/>
                    <a:pt x="9069099" y="6283173"/>
                    <a:pt x="8922604" y="6283173"/>
                  </a:cubicBezTo>
                  <a:cubicBezTo>
                    <a:pt x="8776109" y="6283173"/>
                    <a:pt x="8657638" y="6164705"/>
                    <a:pt x="8657638" y="6018209"/>
                  </a:cubicBezTo>
                  <a:cubicBezTo>
                    <a:pt x="8657638" y="5871713"/>
                    <a:pt x="8776109" y="5753243"/>
                    <a:pt x="8922604" y="5753243"/>
                  </a:cubicBezTo>
                  <a:close/>
                  <a:moveTo>
                    <a:pt x="675610" y="5753243"/>
                  </a:moveTo>
                  <a:cubicBezTo>
                    <a:pt x="822108" y="5753243"/>
                    <a:pt x="940577" y="5871713"/>
                    <a:pt x="940577" y="6018209"/>
                  </a:cubicBezTo>
                  <a:cubicBezTo>
                    <a:pt x="940577" y="6164705"/>
                    <a:pt x="822108" y="6283173"/>
                    <a:pt x="675610" y="6283173"/>
                  </a:cubicBezTo>
                  <a:cubicBezTo>
                    <a:pt x="529116" y="6283173"/>
                    <a:pt x="410646" y="6164705"/>
                    <a:pt x="410646" y="6018209"/>
                  </a:cubicBezTo>
                  <a:cubicBezTo>
                    <a:pt x="410646" y="5871713"/>
                    <a:pt x="529116" y="5753243"/>
                    <a:pt x="675610" y="5753243"/>
                  </a:cubicBezTo>
                  <a:close/>
                  <a:moveTo>
                    <a:pt x="9489477" y="5143057"/>
                  </a:moveTo>
                  <a:lnTo>
                    <a:pt x="10000300" y="5143057"/>
                  </a:lnTo>
                  <a:lnTo>
                    <a:pt x="10000300" y="5244969"/>
                  </a:lnTo>
                  <a:lnTo>
                    <a:pt x="9489477" y="5244969"/>
                  </a:lnTo>
                  <a:close/>
                  <a:moveTo>
                    <a:pt x="8706634" y="5143057"/>
                  </a:moveTo>
                  <a:lnTo>
                    <a:pt x="9176104" y="5143057"/>
                  </a:lnTo>
                  <a:lnTo>
                    <a:pt x="9176104" y="5244969"/>
                  </a:lnTo>
                  <a:lnTo>
                    <a:pt x="8707060" y="5244969"/>
                  </a:lnTo>
                  <a:lnTo>
                    <a:pt x="8709420" y="5198237"/>
                  </a:lnTo>
                  <a:close/>
                  <a:moveTo>
                    <a:pt x="1242485" y="5143057"/>
                  </a:moveTo>
                  <a:lnTo>
                    <a:pt x="1714449" y="5143057"/>
                  </a:lnTo>
                  <a:lnTo>
                    <a:pt x="1711662" y="5198237"/>
                  </a:lnTo>
                  <a:lnTo>
                    <a:pt x="1714022" y="5244969"/>
                  </a:lnTo>
                  <a:lnTo>
                    <a:pt x="1242485" y="5244969"/>
                  </a:lnTo>
                  <a:close/>
                  <a:moveTo>
                    <a:pt x="2787" y="5143057"/>
                  </a:moveTo>
                  <a:lnTo>
                    <a:pt x="97302" y="5143057"/>
                  </a:lnTo>
                  <a:lnTo>
                    <a:pt x="97302" y="5244969"/>
                  </a:lnTo>
                  <a:lnTo>
                    <a:pt x="2360" y="5244969"/>
                  </a:lnTo>
                  <a:lnTo>
                    <a:pt x="0" y="5198237"/>
                  </a:lnTo>
                  <a:close/>
                  <a:moveTo>
                    <a:pt x="623389" y="4939239"/>
                  </a:moveTo>
                  <a:lnTo>
                    <a:pt x="725299" y="4939239"/>
                  </a:lnTo>
                  <a:lnTo>
                    <a:pt x="725299" y="5450061"/>
                  </a:lnTo>
                  <a:lnTo>
                    <a:pt x="623389" y="5450061"/>
                  </a:lnTo>
                  <a:close/>
                  <a:moveTo>
                    <a:pt x="86723" y="4273524"/>
                  </a:moveTo>
                  <a:lnTo>
                    <a:pt x="106218" y="4371093"/>
                  </a:lnTo>
                  <a:cubicBezTo>
                    <a:pt x="106218" y="4407717"/>
                    <a:pt x="98813" y="4442589"/>
                    <a:pt x="85418" y="4474296"/>
                  </a:cubicBezTo>
                  <a:lnTo>
                    <a:pt x="47492" y="4530579"/>
                  </a:lnTo>
                  <a:close/>
                  <a:moveTo>
                    <a:pt x="9745526" y="4208037"/>
                  </a:moveTo>
                  <a:cubicBezTo>
                    <a:pt x="9655081" y="4208037"/>
                    <a:pt x="9582469" y="4280647"/>
                    <a:pt x="9582469" y="4371093"/>
                  </a:cubicBezTo>
                  <a:cubicBezTo>
                    <a:pt x="9582469" y="4461537"/>
                    <a:pt x="9655081" y="4534147"/>
                    <a:pt x="9745526" y="4534147"/>
                  </a:cubicBezTo>
                  <a:cubicBezTo>
                    <a:pt x="9835970" y="4534147"/>
                    <a:pt x="9908582" y="4461537"/>
                    <a:pt x="9908582" y="4371093"/>
                  </a:cubicBezTo>
                  <a:cubicBezTo>
                    <a:pt x="9908582" y="4280647"/>
                    <a:pt x="9835970" y="4208037"/>
                    <a:pt x="9745526" y="4208037"/>
                  </a:cubicBezTo>
                  <a:close/>
                  <a:moveTo>
                    <a:pt x="1498539" y="4208037"/>
                  </a:moveTo>
                  <a:cubicBezTo>
                    <a:pt x="1408093" y="4208037"/>
                    <a:pt x="1335482" y="4280647"/>
                    <a:pt x="1335482" y="4371093"/>
                  </a:cubicBezTo>
                  <a:cubicBezTo>
                    <a:pt x="1335482" y="4461537"/>
                    <a:pt x="1408093" y="4534147"/>
                    <a:pt x="1498539" y="4534147"/>
                  </a:cubicBezTo>
                  <a:cubicBezTo>
                    <a:pt x="1588983" y="4534147"/>
                    <a:pt x="1661593" y="4461537"/>
                    <a:pt x="1661593" y="4371093"/>
                  </a:cubicBezTo>
                  <a:cubicBezTo>
                    <a:pt x="1661593" y="4280647"/>
                    <a:pt x="1588983" y="4208037"/>
                    <a:pt x="1498539" y="4208037"/>
                  </a:cubicBezTo>
                  <a:close/>
                  <a:moveTo>
                    <a:pt x="8870376" y="4115043"/>
                  </a:moveTo>
                  <a:lnTo>
                    <a:pt x="8972285" y="4115043"/>
                  </a:lnTo>
                  <a:lnTo>
                    <a:pt x="8972285" y="4625865"/>
                  </a:lnTo>
                  <a:lnTo>
                    <a:pt x="8870376" y="4625865"/>
                  </a:lnTo>
                  <a:close/>
                  <a:moveTo>
                    <a:pt x="623387" y="4115043"/>
                  </a:moveTo>
                  <a:lnTo>
                    <a:pt x="725297" y="4115043"/>
                  </a:lnTo>
                  <a:lnTo>
                    <a:pt x="725297" y="4625865"/>
                  </a:lnTo>
                  <a:lnTo>
                    <a:pt x="623387" y="4625865"/>
                  </a:lnTo>
                  <a:close/>
                  <a:moveTo>
                    <a:pt x="9744252" y="4106125"/>
                  </a:moveTo>
                  <a:cubicBezTo>
                    <a:pt x="9890747" y="4106125"/>
                    <a:pt x="10009217" y="4224597"/>
                    <a:pt x="10009217" y="4371093"/>
                  </a:cubicBezTo>
                  <a:cubicBezTo>
                    <a:pt x="10009217" y="4517587"/>
                    <a:pt x="9890747" y="4636057"/>
                    <a:pt x="9744252" y="4636057"/>
                  </a:cubicBezTo>
                  <a:cubicBezTo>
                    <a:pt x="9597757" y="4636057"/>
                    <a:pt x="9479286" y="4517587"/>
                    <a:pt x="9479286" y="4371093"/>
                  </a:cubicBezTo>
                  <a:cubicBezTo>
                    <a:pt x="9479286" y="4224597"/>
                    <a:pt x="9597757" y="4106125"/>
                    <a:pt x="9744252" y="4106125"/>
                  </a:cubicBezTo>
                  <a:close/>
                  <a:moveTo>
                    <a:pt x="1499812" y="4106125"/>
                  </a:moveTo>
                  <a:cubicBezTo>
                    <a:pt x="1646307" y="4106125"/>
                    <a:pt x="1764778" y="4224597"/>
                    <a:pt x="1764778" y="4371093"/>
                  </a:cubicBezTo>
                  <a:cubicBezTo>
                    <a:pt x="1764778" y="4517587"/>
                    <a:pt x="1646307" y="4636057"/>
                    <a:pt x="1499812" y="4636057"/>
                  </a:cubicBezTo>
                  <a:cubicBezTo>
                    <a:pt x="1353316" y="4634783"/>
                    <a:pt x="1234846" y="4517587"/>
                    <a:pt x="1234846" y="4371093"/>
                  </a:cubicBezTo>
                  <a:cubicBezTo>
                    <a:pt x="1234846" y="4224597"/>
                    <a:pt x="1353316" y="4106125"/>
                    <a:pt x="1499812" y="4106125"/>
                  </a:cubicBezTo>
                  <a:close/>
                  <a:moveTo>
                    <a:pt x="9489477" y="3495941"/>
                  </a:moveTo>
                  <a:lnTo>
                    <a:pt x="10000300" y="3495941"/>
                  </a:lnTo>
                  <a:lnTo>
                    <a:pt x="10000300" y="3597851"/>
                  </a:lnTo>
                  <a:lnTo>
                    <a:pt x="9489477" y="3597851"/>
                  </a:lnTo>
                  <a:close/>
                  <a:moveTo>
                    <a:pt x="2066685" y="3495941"/>
                  </a:moveTo>
                  <a:lnTo>
                    <a:pt x="2154931" y="3495941"/>
                  </a:lnTo>
                  <a:lnTo>
                    <a:pt x="2133958" y="3530464"/>
                  </a:lnTo>
                  <a:lnTo>
                    <a:pt x="2101496" y="3597851"/>
                  </a:lnTo>
                  <a:lnTo>
                    <a:pt x="2066685" y="3597851"/>
                  </a:lnTo>
                  <a:close/>
                  <a:moveTo>
                    <a:pt x="674343" y="3383841"/>
                  </a:moveTo>
                  <a:cubicBezTo>
                    <a:pt x="583899" y="3383841"/>
                    <a:pt x="511289" y="3456451"/>
                    <a:pt x="511289" y="3546897"/>
                  </a:cubicBezTo>
                  <a:cubicBezTo>
                    <a:pt x="511289" y="3637341"/>
                    <a:pt x="583899" y="3709953"/>
                    <a:pt x="674343" y="3709953"/>
                  </a:cubicBezTo>
                  <a:cubicBezTo>
                    <a:pt x="764789" y="3709953"/>
                    <a:pt x="837399" y="3637341"/>
                    <a:pt x="837399" y="3546897"/>
                  </a:cubicBezTo>
                  <a:cubicBezTo>
                    <a:pt x="837399" y="3456451"/>
                    <a:pt x="764789" y="3383841"/>
                    <a:pt x="674343" y="3383841"/>
                  </a:cubicBezTo>
                  <a:close/>
                  <a:moveTo>
                    <a:pt x="8870376" y="3292121"/>
                  </a:moveTo>
                  <a:lnTo>
                    <a:pt x="8972285" y="3292121"/>
                  </a:lnTo>
                  <a:lnTo>
                    <a:pt x="8972285" y="3802945"/>
                  </a:lnTo>
                  <a:lnTo>
                    <a:pt x="8870376" y="3802945"/>
                  </a:lnTo>
                  <a:close/>
                  <a:moveTo>
                    <a:pt x="8142327" y="3292121"/>
                  </a:moveTo>
                  <a:lnTo>
                    <a:pt x="8148089" y="3292121"/>
                  </a:lnTo>
                  <a:lnTo>
                    <a:pt x="8148089" y="3301606"/>
                  </a:lnTo>
                  <a:close/>
                  <a:moveTo>
                    <a:pt x="1447583" y="3292121"/>
                  </a:moveTo>
                  <a:lnTo>
                    <a:pt x="1549493" y="3292121"/>
                  </a:lnTo>
                  <a:lnTo>
                    <a:pt x="1549493" y="3802945"/>
                  </a:lnTo>
                  <a:lnTo>
                    <a:pt x="1447583" y="3802945"/>
                  </a:lnTo>
                  <a:close/>
                  <a:moveTo>
                    <a:pt x="675617" y="3281931"/>
                  </a:moveTo>
                  <a:cubicBezTo>
                    <a:pt x="822113" y="3281931"/>
                    <a:pt x="940583" y="3400401"/>
                    <a:pt x="940583" y="3546897"/>
                  </a:cubicBezTo>
                  <a:cubicBezTo>
                    <a:pt x="940583" y="3693393"/>
                    <a:pt x="822113" y="3811861"/>
                    <a:pt x="675617" y="3811861"/>
                  </a:cubicBezTo>
                  <a:cubicBezTo>
                    <a:pt x="529123" y="3811861"/>
                    <a:pt x="410652" y="3693393"/>
                    <a:pt x="410652" y="3546897"/>
                  </a:cubicBezTo>
                  <a:cubicBezTo>
                    <a:pt x="410652" y="3400401"/>
                    <a:pt x="529123" y="3281931"/>
                    <a:pt x="675617" y="3281931"/>
                  </a:cubicBezTo>
                  <a:close/>
                  <a:moveTo>
                    <a:pt x="1242482" y="2671745"/>
                  </a:moveTo>
                  <a:lnTo>
                    <a:pt x="1753305" y="2671745"/>
                  </a:lnTo>
                  <a:lnTo>
                    <a:pt x="1753305" y="2773657"/>
                  </a:lnTo>
                  <a:lnTo>
                    <a:pt x="1242482" y="2773657"/>
                  </a:lnTo>
                  <a:close/>
                  <a:moveTo>
                    <a:pt x="8921331" y="2560919"/>
                  </a:moveTo>
                  <a:cubicBezTo>
                    <a:pt x="8832160" y="2560919"/>
                    <a:pt x="8758275" y="2633529"/>
                    <a:pt x="8758275" y="2723975"/>
                  </a:cubicBezTo>
                  <a:cubicBezTo>
                    <a:pt x="8758275" y="2814419"/>
                    <a:pt x="8830885" y="2887029"/>
                    <a:pt x="8921331" y="2887029"/>
                  </a:cubicBezTo>
                  <a:cubicBezTo>
                    <a:pt x="9011776" y="2887029"/>
                    <a:pt x="9084386" y="2814419"/>
                    <a:pt x="9084386" y="2723975"/>
                  </a:cubicBezTo>
                  <a:cubicBezTo>
                    <a:pt x="9084386" y="2633529"/>
                    <a:pt x="9011776" y="2560919"/>
                    <a:pt x="8921331" y="2560919"/>
                  </a:cubicBezTo>
                  <a:close/>
                  <a:moveTo>
                    <a:pt x="2322726" y="2560919"/>
                  </a:moveTo>
                  <a:cubicBezTo>
                    <a:pt x="2232282" y="2560919"/>
                    <a:pt x="2159671" y="2633529"/>
                    <a:pt x="2159671" y="2723975"/>
                  </a:cubicBezTo>
                  <a:cubicBezTo>
                    <a:pt x="2159671" y="2814419"/>
                    <a:pt x="2232282" y="2887029"/>
                    <a:pt x="2322726" y="2887029"/>
                  </a:cubicBezTo>
                  <a:cubicBezTo>
                    <a:pt x="2411897" y="2885757"/>
                    <a:pt x="2485782" y="2813145"/>
                    <a:pt x="2485782" y="2723975"/>
                  </a:cubicBezTo>
                  <a:cubicBezTo>
                    <a:pt x="2485782" y="2633529"/>
                    <a:pt x="2413173" y="2560919"/>
                    <a:pt x="2322726" y="2560919"/>
                  </a:cubicBezTo>
                  <a:close/>
                  <a:moveTo>
                    <a:pt x="9694571" y="2553886"/>
                  </a:moveTo>
                  <a:lnTo>
                    <a:pt x="9792198" y="2714584"/>
                  </a:lnTo>
                  <a:lnTo>
                    <a:pt x="9796481" y="2723476"/>
                  </a:lnTo>
                  <a:lnTo>
                    <a:pt x="9796481" y="2978749"/>
                  </a:lnTo>
                  <a:lnTo>
                    <a:pt x="9694571" y="2978749"/>
                  </a:lnTo>
                  <a:close/>
                  <a:moveTo>
                    <a:pt x="772671" y="2477905"/>
                  </a:moveTo>
                  <a:lnTo>
                    <a:pt x="778813" y="2479809"/>
                  </a:lnTo>
                  <a:cubicBezTo>
                    <a:pt x="873936" y="2519996"/>
                    <a:pt x="940575" y="2614103"/>
                    <a:pt x="940575" y="2723975"/>
                  </a:cubicBezTo>
                  <a:cubicBezTo>
                    <a:pt x="940575" y="2870469"/>
                    <a:pt x="822106" y="2988941"/>
                    <a:pt x="675608" y="2988941"/>
                  </a:cubicBezTo>
                  <a:cubicBezTo>
                    <a:pt x="620673" y="2988463"/>
                    <a:pt x="569678" y="2971504"/>
                    <a:pt x="527394" y="2942835"/>
                  </a:cubicBezTo>
                  <a:lnTo>
                    <a:pt x="521341" y="2937832"/>
                  </a:lnTo>
                  <a:lnTo>
                    <a:pt x="566336" y="2844427"/>
                  </a:lnTo>
                  <a:lnTo>
                    <a:pt x="610701" y="2874271"/>
                  </a:lnTo>
                  <a:cubicBezTo>
                    <a:pt x="630227" y="2882491"/>
                    <a:pt x="651723" y="2887029"/>
                    <a:pt x="674334" y="2887029"/>
                  </a:cubicBezTo>
                  <a:cubicBezTo>
                    <a:pt x="764780" y="2885757"/>
                    <a:pt x="837390" y="2813145"/>
                    <a:pt x="837390" y="2723975"/>
                  </a:cubicBezTo>
                  <a:cubicBezTo>
                    <a:pt x="837390" y="2656141"/>
                    <a:pt x="796547" y="2598339"/>
                    <a:pt x="737968" y="2573678"/>
                  </a:cubicBezTo>
                  <a:lnTo>
                    <a:pt x="717037" y="2569481"/>
                  </a:lnTo>
                  <a:close/>
                  <a:moveTo>
                    <a:pt x="8046180" y="2467925"/>
                  </a:moveTo>
                  <a:lnTo>
                    <a:pt x="8148089" y="2467925"/>
                  </a:lnTo>
                  <a:lnTo>
                    <a:pt x="8148089" y="2978749"/>
                  </a:lnTo>
                  <a:lnTo>
                    <a:pt x="8046180" y="2978749"/>
                  </a:lnTo>
                  <a:close/>
                  <a:moveTo>
                    <a:pt x="8921331" y="2459009"/>
                  </a:moveTo>
                  <a:cubicBezTo>
                    <a:pt x="9067826" y="2459009"/>
                    <a:pt x="9186296" y="2577479"/>
                    <a:pt x="9186296" y="2723975"/>
                  </a:cubicBezTo>
                  <a:cubicBezTo>
                    <a:pt x="9186296" y="2870469"/>
                    <a:pt x="9067826" y="2988941"/>
                    <a:pt x="8921331" y="2988941"/>
                  </a:cubicBezTo>
                  <a:cubicBezTo>
                    <a:pt x="8774836" y="2988941"/>
                    <a:pt x="8656365" y="2870469"/>
                    <a:pt x="8656365" y="2723975"/>
                  </a:cubicBezTo>
                  <a:cubicBezTo>
                    <a:pt x="8656365" y="2577479"/>
                    <a:pt x="8774836" y="2459009"/>
                    <a:pt x="8921331" y="2459009"/>
                  </a:cubicBezTo>
                  <a:close/>
                  <a:moveTo>
                    <a:pt x="2322726" y="2459009"/>
                  </a:moveTo>
                  <a:cubicBezTo>
                    <a:pt x="2469222" y="2459009"/>
                    <a:pt x="2587692" y="2577479"/>
                    <a:pt x="2587692" y="2723975"/>
                  </a:cubicBezTo>
                  <a:cubicBezTo>
                    <a:pt x="2587692" y="2870469"/>
                    <a:pt x="2469222" y="2988941"/>
                    <a:pt x="2322726" y="2988941"/>
                  </a:cubicBezTo>
                  <a:cubicBezTo>
                    <a:pt x="2176232" y="2988941"/>
                    <a:pt x="2057761" y="2869197"/>
                    <a:pt x="2057761" y="2723975"/>
                  </a:cubicBezTo>
                  <a:cubicBezTo>
                    <a:pt x="2057761" y="2577479"/>
                    <a:pt x="2176232" y="2459009"/>
                    <a:pt x="2322726" y="2459009"/>
                  </a:cubicBezTo>
                  <a:close/>
                  <a:moveTo>
                    <a:pt x="7842360" y="1848825"/>
                  </a:moveTo>
                  <a:lnTo>
                    <a:pt x="8353182" y="1848825"/>
                  </a:lnTo>
                  <a:lnTo>
                    <a:pt x="8353182" y="1950733"/>
                  </a:lnTo>
                  <a:lnTo>
                    <a:pt x="7842360" y="1950733"/>
                  </a:lnTo>
                  <a:close/>
                  <a:moveTo>
                    <a:pt x="6223404" y="1848825"/>
                  </a:moveTo>
                  <a:lnTo>
                    <a:pt x="6704792" y="1848825"/>
                  </a:lnTo>
                  <a:lnTo>
                    <a:pt x="6704792" y="1950733"/>
                  </a:lnTo>
                  <a:lnTo>
                    <a:pt x="6512646" y="1950733"/>
                  </a:lnTo>
                  <a:lnTo>
                    <a:pt x="6413573" y="1911670"/>
                  </a:lnTo>
                  <a:cubicBezTo>
                    <a:pt x="6359984" y="1892049"/>
                    <a:pt x="6305781" y="1873700"/>
                    <a:pt x="6251001" y="1856662"/>
                  </a:cubicBezTo>
                  <a:close/>
                  <a:moveTo>
                    <a:pt x="2890884" y="1848825"/>
                  </a:moveTo>
                  <a:lnTo>
                    <a:pt x="3401707" y="1848825"/>
                  </a:lnTo>
                  <a:lnTo>
                    <a:pt x="3401707" y="1950733"/>
                  </a:lnTo>
                  <a:lnTo>
                    <a:pt x="2890884" y="1950733"/>
                  </a:lnTo>
                  <a:close/>
                  <a:moveTo>
                    <a:pt x="1242493" y="1848825"/>
                  </a:moveTo>
                  <a:lnTo>
                    <a:pt x="1753316" y="1848825"/>
                  </a:lnTo>
                  <a:lnTo>
                    <a:pt x="1753316" y="1950733"/>
                  </a:lnTo>
                  <a:lnTo>
                    <a:pt x="1242493" y="1950733"/>
                  </a:lnTo>
                  <a:close/>
                  <a:moveTo>
                    <a:pt x="8921331" y="1736725"/>
                  </a:moveTo>
                  <a:cubicBezTo>
                    <a:pt x="8832160" y="1736725"/>
                    <a:pt x="8758275" y="1809335"/>
                    <a:pt x="8758275" y="1899781"/>
                  </a:cubicBezTo>
                  <a:cubicBezTo>
                    <a:pt x="8758275" y="1990225"/>
                    <a:pt x="8830885" y="2062835"/>
                    <a:pt x="8921331" y="2062835"/>
                  </a:cubicBezTo>
                  <a:cubicBezTo>
                    <a:pt x="9011776" y="2062835"/>
                    <a:pt x="9084386" y="1990225"/>
                    <a:pt x="9084386" y="1899781"/>
                  </a:cubicBezTo>
                  <a:cubicBezTo>
                    <a:pt x="9084386" y="1809335"/>
                    <a:pt x="9011776" y="1736725"/>
                    <a:pt x="8921331" y="1736725"/>
                  </a:cubicBezTo>
                  <a:close/>
                  <a:moveTo>
                    <a:pt x="7223258" y="1643731"/>
                  </a:moveTo>
                  <a:lnTo>
                    <a:pt x="7325168" y="1643731"/>
                  </a:lnTo>
                  <a:lnTo>
                    <a:pt x="7325168" y="2154553"/>
                  </a:lnTo>
                  <a:lnTo>
                    <a:pt x="7223258" y="2154553"/>
                  </a:lnTo>
                  <a:close/>
                  <a:moveTo>
                    <a:pt x="2271782" y="1643731"/>
                  </a:moveTo>
                  <a:lnTo>
                    <a:pt x="2373691" y="1643731"/>
                  </a:lnTo>
                  <a:lnTo>
                    <a:pt x="2373691" y="2154553"/>
                  </a:lnTo>
                  <a:lnTo>
                    <a:pt x="2271782" y="2154553"/>
                  </a:lnTo>
                  <a:close/>
                  <a:moveTo>
                    <a:pt x="8921331" y="1634813"/>
                  </a:moveTo>
                  <a:cubicBezTo>
                    <a:pt x="8957955" y="1634813"/>
                    <a:pt x="8992827" y="1642218"/>
                    <a:pt x="9024534" y="1655614"/>
                  </a:cubicBezTo>
                  <a:lnTo>
                    <a:pt x="9036119" y="1661896"/>
                  </a:lnTo>
                  <a:lnTo>
                    <a:pt x="9067478" y="1694788"/>
                  </a:lnTo>
                  <a:lnTo>
                    <a:pt x="9168482" y="1811390"/>
                  </a:lnTo>
                  <a:lnTo>
                    <a:pt x="9186296" y="1899781"/>
                  </a:lnTo>
                  <a:cubicBezTo>
                    <a:pt x="9186296" y="2046275"/>
                    <a:pt x="9067826" y="2164745"/>
                    <a:pt x="8921331" y="2164745"/>
                  </a:cubicBezTo>
                  <a:cubicBezTo>
                    <a:pt x="8774836" y="2164745"/>
                    <a:pt x="8656365" y="2046275"/>
                    <a:pt x="8656365" y="1899781"/>
                  </a:cubicBezTo>
                  <a:cubicBezTo>
                    <a:pt x="8656365" y="1753285"/>
                    <a:pt x="8774836" y="1634813"/>
                    <a:pt x="8921331" y="1634813"/>
                  </a:cubicBezTo>
                  <a:close/>
                  <a:moveTo>
                    <a:pt x="3969851" y="1634813"/>
                  </a:moveTo>
                  <a:cubicBezTo>
                    <a:pt x="4079723" y="1634813"/>
                    <a:pt x="4173831" y="1701454"/>
                    <a:pt x="4214017" y="1796577"/>
                  </a:cubicBezTo>
                  <a:lnTo>
                    <a:pt x="4223093" y="1841608"/>
                  </a:lnTo>
                  <a:lnTo>
                    <a:pt x="4170081" y="1856662"/>
                  </a:lnTo>
                  <a:lnTo>
                    <a:pt x="4127174" y="1871180"/>
                  </a:lnTo>
                  <a:lnTo>
                    <a:pt x="4120150" y="1836147"/>
                  </a:lnTo>
                  <a:cubicBezTo>
                    <a:pt x="4095488" y="1777568"/>
                    <a:pt x="4037686" y="1736725"/>
                    <a:pt x="3969851" y="1736725"/>
                  </a:cubicBezTo>
                  <a:cubicBezTo>
                    <a:pt x="3880680" y="1736725"/>
                    <a:pt x="3806796" y="1809335"/>
                    <a:pt x="3806796" y="1899781"/>
                  </a:cubicBezTo>
                  <a:cubicBezTo>
                    <a:pt x="3806796" y="1922392"/>
                    <a:pt x="3811334" y="1943889"/>
                    <a:pt x="3819555" y="1963414"/>
                  </a:cubicBezTo>
                  <a:lnTo>
                    <a:pt x="3832208" y="1982224"/>
                  </a:lnTo>
                  <a:lnTo>
                    <a:pt x="3741230" y="2026051"/>
                  </a:lnTo>
                  <a:lnTo>
                    <a:pt x="3725686" y="2002984"/>
                  </a:lnTo>
                  <a:cubicBezTo>
                    <a:pt x="3712291" y="1971277"/>
                    <a:pt x="3704886" y="1936405"/>
                    <a:pt x="3704886" y="1899781"/>
                  </a:cubicBezTo>
                  <a:cubicBezTo>
                    <a:pt x="3704886" y="1753285"/>
                    <a:pt x="3823356" y="1634813"/>
                    <a:pt x="3969851" y="1634813"/>
                  </a:cubicBezTo>
                  <a:close/>
                  <a:moveTo>
                    <a:pt x="7842360" y="1024629"/>
                  </a:moveTo>
                  <a:lnTo>
                    <a:pt x="8330359" y="1024629"/>
                  </a:lnTo>
                  <a:lnTo>
                    <a:pt x="8353182" y="1042565"/>
                  </a:lnTo>
                  <a:lnTo>
                    <a:pt x="8353182" y="1126539"/>
                  </a:lnTo>
                  <a:lnTo>
                    <a:pt x="7842360" y="1126539"/>
                  </a:lnTo>
                  <a:close/>
                  <a:moveTo>
                    <a:pt x="5371048" y="1024629"/>
                  </a:moveTo>
                  <a:lnTo>
                    <a:pt x="5881870" y="1024629"/>
                  </a:lnTo>
                  <a:lnTo>
                    <a:pt x="5881870" y="1126539"/>
                  </a:lnTo>
                  <a:lnTo>
                    <a:pt x="5371048" y="1126539"/>
                  </a:lnTo>
                  <a:close/>
                  <a:moveTo>
                    <a:pt x="4538001" y="1024629"/>
                  </a:moveTo>
                  <a:lnTo>
                    <a:pt x="5048825" y="1024629"/>
                  </a:lnTo>
                  <a:lnTo>
                    <a:pt x="5048825" y="1126539"/>
                  </a:lnTo>
                  <a:lnTo>
                    <a:pt x="4538001" y="1126539"/>
                  </a:lnTo>
                  <a:close/>
                  <a:moveTo>
                    <a:pt x="2890886" y="1024629"/>
                  </a:moveTo>
                  <a:lnTo>
                    <a:pt x="3401709" y="1024629"/>
                  </a:lnTo>
                  <a:lnTo>
                    <a:pt x="3401709" y="1126539"/>
                  </a:lnTo>
                  <a:lnTo>
                    <a:pt x="2890886" y="1126539"/>
                  </a:lnTo>
                  <a:close/>
                  <a:moveTo>
                    <a:pt x="6450017" y="912529"/>
                  </a:moveTo>
                  <a:cubicBezTo>
                    <a:pt x="6359572" y="912529"/>
                    <a:pt x="6286962" y="985139"/>
                    <a:pt x="6286962" y="1075585"/>
                  </a:cubicBezTo>
                  <a:cubicBezTo>
                    <a:pt x="6286962" y="1166029"/>
                    <a:pt x="6359572" y="1238639"/>
                    <a:pt x="6450017" y="1238639"/>
                  </a:cubicBezTo>
                  <a:cubicBezTo>
                    <a:pt x="6540463" y="1238639"/>
                    <a:pt x="6613073" y="1166029"/>
                    <a:pt x="6613073" y="1075585"/>
                  </a:cubicBezTo>
                  <a:cubicBezTo>
                    <a:pt x="6613073" y="985139"/>
                    <a:pt x="6540463" y="912529"/>
                    <a:pt x="6450017" y="912529"/>
                  </a:cubicBezTo>
                  <a:close/>
                  <a:moveTo>
                    <a:pt x="2373692" y="828587"/>
                  </a:moveTo>
                  <a:lnTo>
                    <a:pt x="2373692" y="1331633"/>
                  </a:lnTo>
                  <a:lnTo>
                    <a:pt x="2271782" y="1331633"/>
                  </a:lnTo>
                  <a:lnTo>
                    <a:pt x="2271782" y="895706"/>
                  </a:lnTo>
                  <a:lnTo>
                    <a:pt x="2297278" y="877575"/>
                  </a:lnTo>
                  <a:close/>
                  <a:moveTo>
                    <a:pt x="7223258" y="820809"/>
                  </a:moveTo>
                  <a:lnTo>
                    <a:pt x="7325168" y="820809"/>
                  </a:lnTo>
                  <a:lnTo>
                    <a:pt x="7325168" y="1331633"/>
                  </a:lnTo>
                  <a:lnTo>
                    <a:pt x="7223258" y="1331633"/>
                  </a:lnTo>
                  <a:close/>
                  <a:moveTo>
                    <a:pt x="3918899" y="820809"/>
                  </a:moveTo>
                  <a:lnTo>
                    <a:pt x="4020808" y="820809"/>
                  </a:lnTo>
                  <a:lnTo>
                    <a:pt x="4020808" y="1331633"/>
                  </a:lnTo>
                  <a:lnTo>
                    <a:pt x="3918899" y="1331633"/>
                  </a:lnTo>
                  <a:close/>
                  <a:moveTo>
                    <a:pt x="6451292" y="810617"/>
                  </a:moveTo>
                  <a:cubicBezTo>
                    <a:pt x="6597788" y="810617"/>
                    <a:pt x="6716257" y="929089"/>
                    <a:pt x="6716257" y="1075585"/>
                  </a:cubicBezTo>
                  <a:cubicBezTo>
                    <a:pt x="6716257" y="1222079"/>
                    <a:pt x="6597788" y="1340549"/>
                    <a:pt x="6451292" y="1340549"/>
                  </a:cubicBezTo>
                  <a:cubicBezTo>
                    <a:pt x="6303522" y="1340549"/>
                    <a:pt x="6186326" y="1222079"/>
                    <a:pt x="6186326" y="1075585"/>
                  </a:cubicBezTo>
                  <a:cubicBezTo>
                    <a:pt x="6186326" y="929089"/>
                    <a:pt x="6304797" y="810617"/>
                    <a:pt x="6451292" y="810617"/>
                  </a:cubicBezTo>
                  <a:close/>
                  <a:moveTo>
                    <a:pt x="6399063" y="125503"/>
                  </a:moveTo>
                  <a:lnTo>
                    <a:pt x="6500973" y="149024"/>
                  </a:lnTo>
                  <a:lnTo>
                    <a:pt x="6500973" y="508711"/>
                  </a:lnTo>
                  <a:lnTo>
                    <a:pt x="6399063" y="508711"/>
                  </a:lnTo>
                  <a:close/>
                  <a:moveTo>
                    <a:pt x="4743094" y="101073"/>
                  </a:moveTo>
                  <a:lnTo>
                    <a:pt x="4845004" y="101073"/>
                  </a:lnTo>
                  <a:lnTo>
                    <a:pt x="4845004" y="508711"/>
                  </a:lnTo>
                  <a:lnTo>
                    <a:pt x="4743094" y="508711"/>
                  </a:lnTo>
                  <a:close/>
                  <a:moveTo>
                    <a:pt x="4174642" y="91020"/>
                  </a:moveTo>
                  <a:lnTo>
                    <a:pt x="4214021" y="149458"/>
                  </a:lnTo>
                  <a:cubicBezTo>
                    <a:pt x="4227416" y="181166"/>
                    <a:pt x="4234820" y="216038"/>
                    <a:pt x="4234820" y="252661"/>
                  </a:cubicBezTo>
                  <a:cubicBezTo>
                    <a:pt x="4234820" y="399157"/>
                    <a:pt x="4116350" y="517629"/>
                    <a:pt x="3969854" y="517629"/>
                  </a:cubicBezTo>
                  <a:cubicBezTo>
                    <a:pt x="3823359" y="517629"/>
                    <a:pt x="3704889" y="399157"/>
                    <a:pt x="3704889" y="252661"/>
                  </a:cubicBezTo>
                  <a:lnTo>
                    <a:pt x="3714113" y="206895"/>
                  </a:lnTo>
                  <a:lnTo>
                    <a:pt x="3829928" y="174007"/>
                  </a:lnTo>
                  <a:lnTo>
                    <a:pt x="3819737" y="189028"/>
                  </a:lnTo>
                  <a:cubicBezTo>
                    <a:pt x="3811417" y="208554"/>
                    <a:pt x="3806799" y="230050"/>
                    <a:pt x="3806799" y="252661"/>
                  </a:cubicBezTo>
                  <a:cubicBezTo>
                    <a:pt x="3806799" y="343107"/>
                    <a:pt x="3879410" y="415717"/>
                    <a:pt x="3969854" y="415717"/>
                  </a:cubicBezTo>
                  <a:cubicBezTo>
                    <a:pt x="4060300" y="415717"/>
                    <a:pt x="4132911" y="343107"/>
                    <a:pt x="4132911" y="252661"/>
                  </a:cubicBezTo>
                  <a:cubicBezTo>
                    <a:pt x="4132911" y="207439"/>
                    <a:pt x="4114759" y="166676"/>
                    <a:pt x="4085300" y="137218"/>
                  </a:cubicBezTo>
                  <a:lnTo>
                    <a:pt x="4056168" y="117622"/>
                  </a:lnTo>
                  <a:lnTo>
                    <a:pt x="4160436" y="93557"/>
                  </a:lnTo>
                  <a:close/>
                  <a:moveTo>
                    <a:pt x="5625822" y="89607"/>
                  </a:moveTo>
                  <a:cubicBezTo>
                    <a:pt x="5535377" y="89607"/>
                    <a:pt x="5462766" y="162217"/>
                    <a:pt x="5462766" y="252661"/>
                  </a:cubicBezTo>
                  <a:cubicBezTo>
                    <a:pt x="5462766" y="343107"/>
                    <a:pt x="5535377" y="415717"/>
                    <a:pt x="5625822" y="415717"/>
                  </a:cubicBezTo>
                  <a:cubicBezTo>
                    <a:pt x="5716267" y="414445"/>
                    <a:pt x="5788878" y="341833"/>
                    <a:pt x="5788878" y="252661"/>
                  </a:cubicBezTo>
                  <a:cubicBezTo>
                    <a:pt x="5788878" y="162217"/>
                    <a:pt x="5716267" y="89607"/>
                    <a:pt x="5625822" y="89607"/>
                  </a:cubicBezTo>
                  <a:close/>
                  <a:moveTo>
                    <a:pt x="5551305" y="0"/>
                  </a:moveTo>
                  <a:lnTo>
                    <a:pt x="5741268" y="14445"/>
                  </a:lnTo>
                  <a:lnTo>
                    <a:pt x="5775311" y="32907"/>
                  </a:lnTo>
                  <a:cubicBezTo>
                    <a:pt x="5845785" y="80491"/>
                    <a:pt x="5892062" y="161102"/>
                    <a:pt x="5892062" y="252661"/>
                  </a:cubicBezTo>
                  <a:cubicBezTo>
                    <a:pt x="5892062" y="399157"/>
                    <a:pt x="5773592" y="517629"/>
                    <a:pt x="5627096" y="517629"/>
                  </a:cubicBezTo>
                  <a:cubicBezTo>
                    <a:pt x="5480601" y="516353"/>
                    <a:pt x="5362131" y="397885"/>
                    <a:pt x="5362131" y="252661"/>
                  </a:cubicBezTo>
                  <a:cubicBezTo>
                    <a:pt x="5362131" y="142791"/>
                    <a:pt x="5428771" y="48684"/>
                    <a:pt x="5523893" y="8497"/>
                  </a:cubicBez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0"/>
                    <a:alpha val="15000"/>
                  </a:schemeClr>
                </a:gs>
                <a:gs pos="67000">
                  <a:schemeClr val="accent1">
                    <a:lumMod val="50000"/>
                    <a:alpha val="0"/>
                  </a:schemeClr>
                </a:gs>
              </a:gsLst>
              <a:lin ang="18900000" scaled="0"/>
            </a:gradFill>
            <a:ln w="127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0C4B5C5-9F63-3F48-B561-63C03E011DB7}"/>
                </a:ext>
              </a:extLst>
            </p:cNvPr>
            <p:cNvSpPr/>
            <p:nvPr userDrawn="1"/>
          </p:nvSpPr>
          <p:spPr>
            <a:xfrm>
              <a:off x="8863816" y="629287"/>
              <a:ext cx="58844" cy="16196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1BF5B5-5385-4751-B995-8EAAC096B3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8173208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1BF5B5-5385-4751-B995-8EAAC096B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A7115F-8C8B-4AA3-8514-E327AB46B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6739157" y="6598599"/>
            <a:ext cx="1638468" cy="317121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2BE36A3-04CD-DA49-89B1-6B4E9759C8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4537" y="744223"/>
            <a:ext cx="6679261" cy="1551940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itle block</a:t>
            </a:r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FAA6472-8296-5044-B333-6072633219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20105" y="2528624"/>
            <a:ext cx="4983692" cy="481405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Date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5F0F13C-4B05-1A4E-9D52-9FABDF6322D1}"/>
              </a:ext>
            </a:extLst>
          </p:cNvPr>
          <p:cNvGrpSpPr/>
          <p:nvPr userDrawn="1"/>
        </p:nvGrpSpPr>
        <p:grpSpPr>
          <a:xfrm>
            <a:off x="-1006212" y="3128321"/>
            <a:ext cx="9059349" cy="7503195"/>
            <a:chOff x="-4441553" y="49388"/>
            <a:chExt cx="13364213" cy="8301448"/>
          </a:xfrm>
        </p:grpSpPr>
        <p:sp>
          <p:nvSpPr>
            <p:cNvPr id="13" name="Circle: Hollow 429">
              <a:extLst>
                <a:ext uri="{FF2B5EF4-FFF2-40B4-BE49-F238E27FC236}">
                  <a16:creationId xmlns:a16="http://schemas.microsoft.com/office/drawing/2014/main" id="{52330880-49CF-A145-9332-DEC67605A8E0}"/>
                </a:ext>
              </a:extLst>
            </p:cNvPr>
            <p:cNvSpPr/>
            <p:nvPr userDrawn="1"/>
          </p:nvSpPr>
          <p:spPr>
            <a:xfrm flipV="1">
              <a:off x="-4441553" y="984108"/>
              <a:ext cx="7366729" cy="7366728"/>
            </a:xfrm>
            <a:prstGeom prst="donut">
              <a:avLst>
                <a:gd name="adj" fmla="val 253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7848DB3-2F94-E146-AD1E-5466541700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2972272" y="49388"/>
              <a:ext cx="5708854" cy="6845147"/>
            </a:xfrm>
            <a:prstGeom prst="rect">
              <a:avLst/>
            </a:prstGeom>
            <a:effectLst>
              <a:outerShdw blurRad="127000" dist="241300" dir="8400000" algn="ctr" rotWithShape="0">
                <a:prstClr val="black">
                  <a:alpha val="25000"/>
                </a:prstClr>
              </a:outerShdw>
            </a:effectLst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8CFCC40-BC39-0040-94A8-281C223513B9}"/>
                </a:ext>
              </a:extLst>
            </p:cNvPr>
            <p:cNvSpPr/>
            <p:nvPr userDrawn="1"/>
          </p:nvSpPr>
          <p:spPr>
            <a:xfrm>
              <a:off x="8863816" y="629287"/>
              <a:ext cx="58844" cy="16196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3340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Photo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05ED9417-D828-DE43-B54B-6F102972426D}"/>
              </a:ext>
            </a:extLst>
          </p:cNvPr>
          <p:cNvGrpSpPr/>
          <p:nvPr userDrawn="1"/>
        </p:nvGrpSpPr>
        <p:grpSpPr>
          <a:xfrm>
            <a:off x="-2142742" y="2444389"/>
            <a:ext cx="10195879" cy="9705975"/>
            <a:chOff x="-6118144" y="-707309"/>
            <a:chExt cx="15040804" cy="10738578"/>
          </a:xfrm>
        </p:grpSpPr>
        <p:sp>
          <p:nvSpPr>
            <p:cNvPr id="19" name="Circle: Hollow 431">
              <a:extLst>
                <a:ext uri="{FF2B5EF4-FFF2-40B4-BE49-F238E27FC236}">
                  <a16:creationId xmlns:a16="http://schemas.microsoft.com/office/drawing/2014/main" id="{582FD1CF-AB66-7B48-B403-276B598DC85F}"/>
                </a:ext>
              </a:extLst>
            </p:cNvPr>
            <p:cNvSpPr/>
            <p:nvPr userDrawn="1"/>
          </p:nvSpPr>
          <p:spPr>
            <a:xfrm flipV="1">
              <a:off x="-6118144" y="-707309"/>
              <a:ext cx="10738580" cy="10738578"/>
            </a:xfrm>
            <a:prstGeom prst="donut">
              <a:avLst>
                <a:gd name="adj" fmla="val 17386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</a:rPr>
                <a:t>-</a:t>
              </a:r>
            </a:p>
          </p:txBody>
        </p:sp>
        <p:sp>
          <p:nvSpPr>
            <p:cNvPr id="20" name="Circle: Hollow 98">
              <a:extLst>
                <a:ext uri="{FF2B5EF4-FFF2-40B4-BE49-F238E27FC236}">
                  <a16:creationId xmlns:a16="http://schemas.microsoft.com/office/drawing/2014/main" id="{C55C4997-4E5A-514B-9667-5850670FD465}"/>
                </a:ext>
              </a:extLst>
            </p:cNvPr>
            <p:cNvSpPr/>
            <p:nvPr userDrawn="1"/>
          </p:nvSpPr>
          <p:spPr>
            <a:xfrm flipV="1">
              <a:off x="-5968729" y="-543068"/>
              <a:ext cx="10421083" cy="10421080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 dirty="0">
                <a:solidFill>
                  <a:schemeClr val="bg1"/>
                </a:solidFill>
              </a:endParaRPr>
            </a:p>
          </p:txBody>
        </p:sp>
        <p:sp>
          <p:nvSpPr>
            <p:cNvPr id="21" name="Circle: Hollow 429">
              <a:extLst>
                <a:ext uri="{FF2B5EF4-FFF2-40B4-BE49-F238E27FC236}">
                  <a16:creationId xmlns:a16="http://schemas.microsoft.com/office/drawing/2014/main" id="{5FBC5CA6-6D0E-AA4D-836C-DB4C43D60902}"/>
                </a:ext>
              </a:extLst>
            </p:cNvPr>
            <p:cNvSpPr/>
            <p:nvPr userDrawn="1"/>
          </p:nvSpPr>
          <p:spPr>
            <a:xfrm flipV="1">
              <a:off x="-4441553" y="984108"/>
              <a:ext cx="7366729" cy="7366728"/>
            </a:xfrm>
            <a:prstGeom prst="donut">
              <a:avLst>
                <a:gd name="adj" fmla="val 253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428">
              <a:extLst>
                <a:ext uri="{FF2B5EF4-FFF2-40B4-BE49-F238E27FC236}">
                  <a16:creationId xmlns:a16="http://schemas.microsoft.com/office/drawing/2014/main" id="{C84345CC-1824-924E-BBDC-04B4DE1383D2}"/>
                </a:ext>
              </a:extLst>
            </p:cNvPr>
            <p:cNvSpPr/>
            <p:nvPr userDrawn="1"/>
          </p:nvSpPr>
          <p:spPr>
            <a:xfrm>
              <a:off x="-5968729" y="-530765"/>
              <a:ext cx="10375356" cy="10394676"/>
            </a:xfrm>
            <a:custGeom>
              <a:avLst/>
              <a:gdLst>
                <a:gd name="connsiteX0" fmla="*/ 6202887 w 10375356"/>
                <a:gd name="connsiteY0" fmla="*/ 10086957 h 10394676"/>
                <a:gd name="connsiteX1" fmla="*/ 6713710 w 10375356"/>
                <a:gd name="connsiteY1" fmla="*/ 10086957 h 10394676"/>
                <a:gd name="connsiteX2" fmla="*/ 6713710 w 10375356"/>
                <a:gd name="connsiteY2" fmla="*/ 10187665 h 10394676"/>
                <a:gd name="connsiteX3" fmla="*/ 6709472 w 10375356"/>
                <a:gd name="connsiteY3" fmla="*/ 10188869 h 10394676"/>
                <a:gd name="connsiteX4" fmla="*/ 6202887 w 10375356"/>
                <a:gd name="connsiteY4" fmla="*/ 10188869 h 10394676"/>
                <a:gd name="connsiteX5" fmla="*/ 5634740 w 10375356"/>
                <a:gd name="connsiteY5" fmla="*/ 9974857 h 10394676"/>
                <a:gd name="connsiteX6" fmla="*/ 5471684 w 10375356"/>
                <a:gd name="connsiteY6" fmla="*/ 10137913 h 10394676"/>
                <a:gd name="connsiteX7" fmla="*/ 5634740 w 10375356"/>
                <a:gd name="connsiteY7" fmla="*/ 10300969 h 10394676"/>
                <a:gd name="connsiteX8" fmla="*/ 5797795 w 10375356"/>
                <a:gd name="connsiteY8" fmla="*/ 10137913 h 10394676"/>
                <a:gd name="connsiteX9" fmla="*/ 5634740 w 10375356"/>
                <a:gd name="connsiteY9" fmla="*/ 9974857 h 10394676"/>
                <a:gd name="connsiteX10" fmla="*/ 7232175 w 10375356"/>
                <a:gd name="connsiteY10" fmla="*/ 9881865 h 10394676"/>
                <a:gd name="connsiteX11" fmla="*/ 7334085 w 10375356"/>
                <a:gd name="connsiteY11" fmla="*/ 9881865 h 10394676"/>
                <a:gd name="connsiteX12" fmla="*/ 7334085 w 10375356"/>
                <a:gd name="connsiteY12" fmla="*/ 9956193 h 10394676"/>
                <a:gd name="connsiteX13" fmla="*/ 7238719 w 10375356"/>
                <a:gd name="connsiteY13" fmla="*/ 9999307 h 10394676"/>
                <a:gd name="connsiteX14" fmla="*/ 7232175 w 10375356"/>
                <a:gd name="connsiteY14" fmla="*/ 10001887 h 10394676"/>
                <a:gd name="connsiteX15" fmla="*/ 4751991 w 10375356"/>
                <a:gd name="connsiteY15" fmla="*/ 9881865 h 10394676"/>
                <a:gd name="connsiteX16" fmla="*/ 4853901 w 10375356"/>
                <a:gd name="connsiteY16" fmla="*/ 9881865 h 10394676"/>
                <a:gd name="connsiteX17" fmla="*/ 4853901 w 10375356"/>
                <a:gd name="connsiteY17" fmla="*/ 10290777 h 10394676"/>
                <a:gd name="connsiteX18" fmla="*/ 4751991 w 10375356"/>
                <a:gd name="connsiteY18" fmla="*/ 10290777 h 10394676"/>
                <a:gd name="connsiteX19" fmla="*/ 5636013 w 10375356"/>
                <a:gd name="connsiteY19" fmla="*/ 9872947 h 10394676"/>
                <a:gd name="connsiteX20" fmla="*/ 5900978 w 10375356"/>
                <a:gd name="connsiteY20" fmla="*/ 10137913 h 10394676"/>
                <a:gd name="connsiteX21" fmla="*/ 5739217 w 10375356"/>
                <a:gd name="connsiteY21" fmla="*/ 10382077 h 10394676"/>
                <a:gd name="connsiteX22" fmla="*/ 5738756 w 10375356"/>
                <a:gd name="connsiteY22" fmla="*/ 10382220 h 10394676"/>
                <a:gd name="connsiteX23" fmla="*/ 5574951 w 10375356"/>
                <a:gd name="connsiteY23" fmla="*/ 10394676 h 10394676"/>
                <a:gd name="connsiteX24" fmla="*/ 5532810 w 10375356"/>
                <a:gd name="connsiteY24" fmla="*/ 10381361 h 10394676"/>
                <a:gd name="connsiteX25" fmla="*/ 5371048 w 10375356"/>
                <a:gd name="connsiteY25" fmla="*/ 10137913 h 10394676"/>
                <a:gd name="connsiteX26" fmla="*/ 5636013 w 10375356"/>
                <a:gd name="connsiteY26" fmla="*/ 9872947 h 10394676"/>
                <a:gd name="connsiteX27" fmla="*/ 3978752 w 10375356"/>
                <a:gd name="connsiteY27" fmla="*/ 9872947 h 10394676"/>
                <a:gd name="connsiteX28" fmla="*/ 4243718 w 10375356"/>
                <a:gd name="connsiteY28" fmla="*/ 10137913 h 10394676"/>
                <a:gd name="connsiteX29" fmla="*/ 4222918 w 10375356"/>
                <a:gd name="connsiteY29" fmla="*/ 10241117 h 10394676"/>
                <a:gd name="connsiteX30" fmla="*/ 4179036 w 10375356"/>
                <a:gd name="connsiteY30" fmla="*/ 10306239 h 10394676"/>
                <a:gd name="connsiteX31" fmla="*/ 4160436 w 10375356"/>
                <a:gd name="connsiteY31" fmla="*/ 10302917 h 10394676"/>
                <a:gd name="connsiteX32" fmla="*/ 4056265 w 10375356"/>
                <a:gd name="connsiteY32" fmla="*/ 10278875 h 10394676"/>
                <a:gd name="connsiteX33" fmla="*/ 4094199 w 10375356"/>
                <a:gd name="connsiteY33" fmla="*/ 10253357 h 10394676"/>
                <a:gd name="connsiteX34" fmla="*/ 4141809 w 10375356"/>
                <a:gd name="connsiteY34" fmla="*/ 10137913 h 10394676"/>
                <a:gd name="connsiteX35" fmla="*/ 3978752 w 10375356"/>
                <a:gd name="connsiteY35" fmla="*/ 9974857 h 10394676"/>
                <a:gd name="connsiteX36" fmla="*/ 3815698 w 10375356"/>
                <a:gd name="connsiteY36" fmla="*/ 10137913 h 10394676"/>
                <a:gd name="connsiteX37" fmla="*/ 3828457 w 10375356"/>
                <a:gd name="connsiteY37" fmla="*/ 10201547 h 10394676"/>
                <a:gd name="connsiteX38" fmla="*/ 3845505 w 10375356"/>
                <a:gd name="connsiteY38" fmla="*/ 10226891 h 10394676"/>
                <a:gd name="connsiteX39" fmla="*/ 3724813 w 10375356"/>
                <a:gd name="connsiteY39" fmla="*/ 10192618 h 10394676"/>
                <a:gd name="connsiteX40" fmla="*/ 3713787 w 10375356"/>
                <a:gd name="connsiteY40" fmla="*/ 10137913 h 10394676"/>
                <a:gd name="connsiteX41" fmla="*/ 3978752 w 10375356"/>
                <a:gd name="connsiteY41" fmla="*/ 9872947 h 10394676"/>
                <a:gd name="connsiteX42" fmla="*/ 3155832 w 10375356"/>
                <a:gd name="connsiteY42" fmla="*/ 9872947 h 10394676"/>
                <a:gd name="connsiteX43" fmla="*/ 3399999 w 10375356"/>
                <a:gd name="connsiteY43" fmla="*/ 10034709 h 10394676"/>
                <a:gd name="connsiteX44" fmla="*/ 3411035 w 10375356"/>
                <a:gd name="connsiteY44" fmla="*/ 10089469 h 10394676"/>
                <a:gd name="connsiteX45" fmla="*/ 3280434 w 10375356"/>
                <a:gd name="connsiteY45" fmla="*/ 10037975 h 10394676"/>
                <a:gd name="connsiteX46" fmla="*/ 3270003 w 10375356"/>
                <a:gd name="connsiteY46" fmla="*/ 10022469 h 10394676"/>
                <a:gd name="connsiteX47" fmla="*/ 3154558 w 10375356"/>
                <a:gd name="connsiteY47" fmla="*/ 9974857 h 10394676"/>
                <a:gd name="connsiteX48" fmla="*/ 3136355 w 10375356"/>
                <a:gd name="connsiteY48" fmla="*/ 9978507 h 10394676"/>
                <a:gd name="connsiteX49" fmla="*/ 3005935 w 10375356"/>
                <a:gd name="connsiteY49" fmla="*/ 9919545 h 10394676"/>
                <a:gd name="connsiteX50" fmla="*/ 3007618 w 10375356"/>
                <a:gd name="connsiteY50" fmla="*/ 9918157 h 10394676"/>
                <a:gd name="connsiteX51" fmla="*/ 3155832 w 10375356"/>
                <a:gd name="connsiteY51" fmla="*/ 9872947 h 10394676"/>
                <a:gd name="connsiteX52" fmla="*/ 7851277 w 10375356"/>
                <a:gd name="connsiteY52" fmla="*/ 9262761 h 10394676"/>
                <a:gd name="connsiteX53" fmla="*/ 8362099 w 10375356"/>
                <a:gd name="connsiteY53" fmla="*/ 9262761 h 10394676"/>
                <a:gd name="connsiteX54" fmla="*/ 8362099 w 10375356"/>
                <a:gd name="connsiteY54" fmla="*/ 9346902 h 10394676"/>
                <a:gd name="connsiteX55" fmla="*/ 8339488 w 10375356"/>
                <a:gd name="connsiteY55" fmla="*/ 9364671 h 10394676"/>
                <a:gd name="connsiteX56" fmla="*/ 7851277 w 10375356"/>
                <a:gd name="connsiteY56" fmla="*/ 9364671 h 10394676"/>
                <a:gd name="connsiteX57" fmla="*/ 5379965 w 10375356"/>
                <a:gd name="connsiteY57" fmla="*/ 9262761 h 10394676"/>
                <a:gd name="connsiteX58" fmla="*/ 5890787 w 10375356"/>
                <a:gd name="connsiteY58" fmla="*/ 9262761 h 10394676"/>
                <a:gd name="connsiteX59" fmla="*/ 5890787 w 10375356"/>
                <a:gd name="connsiteY59" fmla="*/ 9364671 h 10394676"/>
                <a:gd name="connsiteX60" fmla="*/ 5379965 w 10375356"/>
                <a:gd name="connsiteY60" fmla="*/ 9364671 h 10394676"/>
                <a:gd name="connsiteX61" fmla="*/ 4546902 w 10375356"/>
                <a:gd name="connsiteY61" fmla="*/ 9262761 h 10394676"/>
                <a:gd name="connsiteX62" fmla="*/ 5057725 w 10375356"/>
                <a:gd name="connsiteY62" fmla="*/ 9262761 h 10394676"/>
                <a:gd name="connsiteX63" fmla="*/ 5057725 w 10375356"/>
                <a:gd name="connsiteY63" fmla="*/ 9364671 h 10394676"/>
                <a:gd name="connsiteX64" fmla="*/ 4546902 w 10375356"/>
                <a:gd name="connsiteY64" fmla="*/ 9364671 h 10394676"/>
                <a:gd name="connsiteX65" fmla="*/ 2899787 w 10375356"/>
                <a:gd name="connsiteY65" fmla="*/ 9262761 h 10394676"/>
                <a:gd name="connsiteX66" fmla="*/ 3410609 w 10375356"/>
                <a:gd name="connsiteY66" fmla="*/ 9262761 h 10394676"/>
                <a:gd name="connsiteX67" fmla="*/ 3410609 w 10375356"/>
                <a:gd name="connsiteY67" fmla="*/ 9364671 h 10394676"/>
                <a:gd name="connsiteX68" fmla="*/ 2899787 w 10375356"/>
                <a:gd name="connsiteY68" fmla="*/ 9364671 h 10394676"/>
                <a:gd name="connsiteX69" fmla="*/ 6450017 w 10375356"/>
                <a:gd name="connsiteY69" fmla="*/ 9150661 h 10394676"/>
                <a:gd name="connsiteX70" fmla="*/ 6286962 w 10375356"/>
                <a:gd name="connsiteY70" fmla="*/ 9313717 h 10394676"/>
                <a:gd name="connsiteX71" fmla="*/ 6450017 w 10375356"/>
                <a:gd name="connsiteY71" fmla="*/ 9476773 h 10394676"/>
                <a:gd name="connsiteX72" fmla="*/ 6613073 w 10375356"/>
                <a:gd name="connsiteY72" fmla="*/ 9313717 h 10394676"/>
                <a:gd name="connsiteX73" fmla="*/ 6450017 w 10375356"/>
                <a:gd name="connsiteY73" fmla="*/ 9150661 h 10394676"/>
                <a:gd name="connsiteX74" fmla="*/ 3978754 w 10375356"/>
                <a:gd name="connsiteY74" fmla="*/ 9150661 h 10394676"/>
                <a:gd name="connsiteX75" fmla="*/ 3815700 w 10375356"/>
                <a:gd name="connsiteY75" fmla="*/ 9313717 h 10394676"/>
                <a:gd name="connsiteX76" fmla="*/ 3978754 w 10375356"/>
                <a:gd name="connsiteY76" fmla="*/ 9476773 h 10394676"/>
                <a:gd name="connsiteX77" fmla="*/ 4141811 w 10375356"/>
                <a:gd name="connsiteY77" fmla="*/ 9313717 h 10394676"/>
                <a:gd name="connsiteX78" fmla="*/ 3978754 w 10375356"/>
                <a:gd name="connsiteY78" fmla="*/ 9150661 h 10394676"/>
                <a:gd name="connsiteX79" fmla="*/ 7232175 w 10375356"/>
                <a:gd name="connsiteY79" fmla="*/ 9057669 h 10394676"/>
                <a:gd name="connsiteX80" fmla="*/ 7334085 w 10375356"/>
                <a:gd name="connsiteY80" fmla="*/ 9057669 h 10394676"/>
                <a:gd name="connsiteX81" fmla="*/ 7334085 w 10375356"/>
                <a:gd name="connsiteY81" fmla="*/ 9568493 h 10394676"/>
                <a:gd name="connsiteX82" fmla="*/ 7232175 w 10375356"/>
                <a:gd name="connsiteY82" fmla="*/ 9568493 h 10394676"/>
                <a:gd name="connsiteX83" fmla="*/ 2280685 w 10375356"/>
                <a:gd name="connsiteY83" fmla="*/ 9057669 h 10394676"/>
                <a:gd name="connsiteX84" fmla="*/ 2382595 w 10375356"/>
                <a:gd name="connsiteY84" fmla="*/ 9057669 h 10394676"/>
                <a:gd name="connsiteX85" fmla="*/ 2382595 w 10375356"/>
                <a:gd name="connsiteY85" fmla="*/ 9568493 h 10394676"/>
                <a:gd name="connsiteX86" fmla="*/ 2374638 w 10375356"/>
                <a:gd name="connsiteY86" fmla="*/ 9568493 h 10394676"/>
                <a:gd name="connsiteX87" fmla="*/ 2297278 w 10375356"/>
                <a:gd name="connsiteY87" fmla="*/ 9518899 h 10394676"/>
                <a:gd name="connsiteX88" fmla="*/ 2280685 w 10375356"/>
                <a:gd name="connsiteY88" fmla="*/ 9507099 h 10394676"/>
                <a:gd name="connsiteX89" fmla="*/ 6450017 w 10375356"/>
                <a:gd name="connsiteY89" fmla="*/ 9048751 h 10394676"/>
                <a:gd name="connsiteX90" fmla="*/ 6714982 w 10375356"/>
                <a:gd name="connsiteY90" fmla="*/ 9313717 h 10394676"/>
                <a:gd name="connsiteX91" fmla="*/ 6450017 w 10375356"/>
                <a:gd name="connsiteY91" fmla="*/ 9578681 h 10394676"/>
                <a:gd name="connsiteX92" fmla="*/ 6185052 w 10375356"/>
                <a:gd name="connsiteY92" fmla="*/ 9313717 h 10394676"/>
                <a:gd name="connsiteX93" fmla="*/ 6450017 w 10375356"/>
                <a:gd name="connsiteY93" fmla="*/ 9048751 h 10394676"/>
                <a:gd name="connsiteX94" fmla="*/ 3978754 w 10375356"/>
                <a:gd name="connsiteY94" fmla="*/ 9048751 h 10394676"/>
                <a:gd name="connsiteX95" fmla="*/ 4243720 w 10375356"/>
                <a:gd name="connsiteY95" fmla="*/ 9313717 h 10394676"/>
                <a:gd name="connsiteX96" fmla="*/ 3978754 w 10375356"/>
                <a:gd name="connsiteY96" fmla="*/ 9578681 h 10394676"/>
                <a:gd name="connsiteX97" fmla="*/ 3713789 w 10375356"/>
                <a:gd name="connsiteY97" fmla="*/ 9313717 h 10394676"/>
                <a:gd name="connsiteX98" fmla="*/ 3978754 w 10375356"/>
                <a:gd name="connsiteY98" fmla="*/ 9048751 h 10394676"/>
                <a:gd name="connsiteX99" fmla="*/ 5676776 w 10375356"/>
                <a:gd name="connsiteY99" fmla="*/ 8665264 h 10394676"/>
                <a:gd name="connsiteX100" fmla="*/ 5676776 w 10375356"/>
                <a:gd name="connsiteY100" fmla="*/ 8745569 h 10394676"/>
                <a:gd name="connsiteX101" fmla="*/ 5574867 w 10375356"/>
                <a:gd name="connsiteY101" fmla="*/ 8745569 h 10394676"/>
                <a:gd name="connsiteX102" fmla="*/ 5574867 w 10375356"/>
                <a:gd name="connsiteY102" fmla="*/ 8678214 h 10394676"/>
                <a:gd name="connsiteX103" fmla="*/ 3918880 w 10375356"/>
                <a:gd name="connsiteY103" fmla="*/ 8449859 h 10394676"/>
                <a:gd name="connsiteX104" fmla="*/ 4007509 w 10375356"/>
                <a:gd name="connsiteY104" fmla="*/ 8484804 h 10394676"/>
                <a:gd name="connsiteX105" fmla="*/ 4020789 w 10375356"/>
                <a:gd name="connsiteY105" fmla="*/ 8489298 h 10394676"/>
                <a:gd name="connsiteX106" fmla="*/ 4020789 w 10375356"/>
                <a:gd name="connsiteY106" fmla="*/ 8745569 h 10394676"/>
                <a:gd name="connsiteX107" fmla="*/ 3918880 w 10375356"/>
                <a:gd name="connsiteY107" fmla="*/ 8745569 h 10394676"/>
                <a:gd name="connsiteX108" fmla="*/ 7018165 w 10375356"/>
                <a:gd name="connsiteY108" fmla="*/ 8438567 h 10394676"/>
                <a:gd name="connsiteX109" fmla="*/ 7528988 w 10375356"/>
                <a:gd name="connsiteY109" fmla="*/ 8438567 h 10394676"/>
                <a:gd name="connsiteX110" fmla="*/ 7528988 w 10375356"/>
                <a:gd name="connsiteY110" fmla="*/ 8540477 h 10394676"/>
                <a:gd name="connsiteX111" fmla="*/ 7018165 w 10375356"/>
                <a:gd name="connsiteY111" fmla="*/ 8540477 h 10394676"/>
                <a:gd name="connsiteX112" fmla="*/ 6530840 w 10375356"/>
                <a:gd name="connsiteY112" fmla="*/ 8438567 h 10394676"/>
                <a:gd name="connsiteX113" fmla="*/ 6697148 w 10375356"/>
                <a:gd name="connsiteY113" fmla="*/ 8438567 h 10394676"/>
                <a:gd name="connsiteX114" fmla="*/ 6697148 w 10375356"/>
                <a:gd name="connsiteY114" fmla="*/ 8540477 h 10394676"/>
                <a:gd name="connsiteX115" fmla="*/ 6248661 w 10375356"/>
                <a:gd name="connsiteY115" fmla="*/ 8540477 h 10394676"/>
                <a:gd name="connsiteX116" fmla="*/ 6251001 w 10375356"/>
                <a:gd name="connsiteY116" fmla="*/ 8539813 h 10394676"/>
                <a:gd name="connsiteX117" fmla="*/ 6413573 w 10375356"/>
                <a:gd name="connsiteY117" fmla="*/ 8484804 h 10394676"/>
                <a:gd name="connsiteX118" fmla="*/ 2066673 w 10375356"/>
                <a:gd name="connsiteY118" fmla="*/ 8438567 h 10394676"/>
                <a:gd name="connsiteX119" fmla="*/ 2577496 w 10375356"/>
                <a:gd name="connsiteY119" fmla="*/ 8438567 h 10394676"/>
                <a:gd name="connsiteX120" fmla="*/ 2577496 w 10375356"/>
                <a:gd name="connsiteY120" fmla="*/ 8540477 h 10394676"/>
                <a:gd name="connsiteX121" fmla="*/ 2066673 w 10375356"/>
                <a:gd name="connsiteY121" fmla="*/ 8540477 h 10394676"/>
                <a:gd name="connsiteX122" fmla="*/ 1234837 w 10375356"/>
                <a:gd name="connsiteY122" fmla="*/ 8438567 h 10394676"/>
                <a:gd name="connsiteX123" fmla="*/ 1745660 w 10375356"/>
                <a:gd name="connsiteY123" fmla="*/ 8438567 h 10394676"/>
                <a:gd name="connsiteX124" fmla="*/ 1745660 w 10375356"/>
                <a:gd name="connsiteY124" fmla="*/ 8540477 h 10394676"/>
                <a:gd name="connsiteX125" fmla="*/ 1234837 w 10375356"/>
                <a:gd name="connsiteY125" fmla="*/ 8540477 h 10394676"/>
                <a:gd name="connsiteX126" fmla="*/ 8870376 w 10375356"/>
                <a:gd name="connsiteY126" fmla="*/ 8234747 h 10394676"/>
                <a:gd name="connsiteX127" fmla="*/ 8972285 w 10375356"/>
                <a:gd name="connsiteY127" fmla="*/ 8234747 h 10394676"/>
                <a:gd name="connsiteX128" fmla="*/ 8972285 w 10375356"/>
                <a:gd name="connsiteY128" fmla="*/ 8745569 h 10394676"/>
                <a:gd name="connsiteX129" fmla="*/ 8870376 w 10375356"/>
                <a:gd name="connsiteY129" fmla="*/ 8745569 h 10394676"/>
                <a:gd name="connsiteX130" fmla="*/ 8046180 w 10375356"/>
                <a:gd name="connsiteY130" fmla="*/ 8234747 h 10394676"/>
                <a:gd name="connsiteX131" fmla="*/ 8148089 w 10375356"/>
                <a:gd name="connsiteY131" fmla="*/ 8234747 h 10394676"/>
                <a:gd name="connsiteX132" fmla="*/ 8148089 w 10375356"/>
                <a:gd name="connsiteY132" fmla="*/ 8745569 h 10394676"/>
                <a:gd name="connsiteX133" fmla="*/ 8046180 w 10375356"/>
                <a:gd name="connsiteY133" fmla="*/ 8745569 h 10394676"/>
                <a:gd name="connsiteX134" fmla="*/ 3094685 w 10375356"/>
                <a:gd name="connsiteY134" fmla="*/ 8234747 h 10394676"/>
                <a:gd name="connsiteX135" fmla="*/ 3196595 w 10375356"/>
                <a:gd name="connsiteY135" fmla="*/ 8234747 h 10394676"/>
                <a:gd name="connsiteX136" fmla="*/ 3196595 w 10375356"/>
                <a:gd name="connsiteY136" fmla="*/ 8745569 h 10394676"/>
                <a:gd name="connsiteX137" fmla="*/ 3094685 w 10375356"/>
                <a:gd name="connsiteY137" fmla="*/ 8745569 h 10394676"/>
                <a:gd name="connsiteX138" fmla="*/ 9489477 w 10375356"/>
                <a:gd name="connsiteY138" fmla="*/ 7615645 h 10394676"/>
                <a:gd name="connsiteX139" fmla="*/ 9824110 w 10375356"/>
                <a:gd name="connsiteY139" fmla="*/ 7615645 h 10394676"/>
                <a:gd name="connsiteX140" fmla="*/ 9792198 w 10375356"/>
                <a:gd name="connsiteY140" fmla="*/ 7681890 h 10394676"/>
                <a:gd name="connsiteX141" fmla="*/ 9770531 w 10375356"/>
                <a:gd name="connsiteY141" fmla="*/ 7717555 h 10394676"/>
                <a:gd name="connsiteX142" fmla="*/ 9489477 w 10375356"/>
                <a:gd name="connsiteY142" fmla="*/ 7717555 h 10394676"/>
                <a:gd name="connsiteX143" fmla="*/ 8666557 w 10375356"/>
                <a:gd name="connsiteY143" fmla="*/ 7615645 h 10394676"/>
                <a:gd name="connsiteX144" fmla="*/ 9177379 w 10375356"/>
                <a:gd name="connsiteY144" fmla="*/ 7615645 h 10394676"/>
                <a:gd name="connsiteX145" fmla="*/ 9177379 w 10375356"/>
                <a:gd name="connsiteY145" fmla="*/ 7717555 h 10394676"/>
                <a:gd name="connsiteX146" fmla="*/ 8666557 w 10375356"/>
                <a:gd name="connsiteY146" fmla="*/ 7717555 h 10394676"/>
                <a:gd name="connsiteX147" fmla="*/ 2322721 w 10375356"/>
                <a:gd name="connsiteY147" fmla="*/ 7503545 h 10394676"/>
                <a:gd name="connsiteX148" fmla="*/ 2159665 w 10375356"/>
                <a:gd name="connsiteY148" fmla="*/ 7666599 h 10394676"/>
                <a:gd name="connsiteX149" fmla="*/ 2322721 w 10375356"/>
                <a:gd name="connsiteY149" fmla="*/ 7829655 h 10394676"/>
                <a:gd name="connsiteX150" fmla="*/ 2485776 w 10375356"/>
                <a:gd name="connsiteY150" fmla="*/ 7666599 h 10394676"/>
                <a:gd name="connsiteX151" fmla="*/ 2322721 w 10375356"/>
                <a:gd name="connsiteY151" fmla="*/ 7503545 h 10394676"/>
                <a:gd name="connsiteX152" fmla="*/ 8046180 w 10375356"/>
                <a:gd name="connsiteY152" fmla="*/ 7410553 h 10394676"/>
                <a:gd name="connsiteX153" fmla="*/ 8148089 w 10375356"/>
                <a:gd name="connsiteY153" fmla="*/ 7410553 h 10394676"/>
                <a:gd name="connsiteX154" fmla="*/ 8148089 w 10375356"/>
                <a:gd name="connsiteY154" fmla="*/ 7921375 h 10394676"/>
                <a:gd name="connsiteX155" fmla="*/ 8046180 w 10375356"/>
                <a:gd name="connsiteY155" fmla="*/ 7921375 h 10394676"/>
                <a:gd name="connsiteX156" fmla="*/ 1447573 w 10375356"/>
                <a:gd name="connsiteY156" fmla="*/ 7410553 h 10394676"/>
                <a:gd name="connsiteX157" fmla="*/ 1549483 w 10375356"/>
                <a:gd name="connsiteY157" fmla="*/ 7410553 h 10394676"/>
                <a:gd name="connsiteX158" fmla="*/ 1549483 w 10375356"/>
                <a:gd name="connsiteY158" fmla="*/ 7921375 h 10394676"/>
                <a:gd name="connsiteX159" fmla="*/ 1447573 w 10375356"/>
                <a:gd name="connsiteY159" fmla="*/ 7921375 h 10394676"/>
                <a:gd name="connsiteX160" fmla="*/ 2322721 w 10375356"/>
                <a:gd name="connsiteY160" fmla="*/ 7401633 h 10394676"/>
                <a:gd name="connsiteX161" fmla="*/ 2587686 w 10375356"/>
                <a:gd name="connsiteY161" fmla="*/ 7666599 h 10394676"/>
                <a:gd name="connsiteX162" fmla="*/ 2322721 w 10375356"/>
                <a:gd name="connsiteY162" fmla="*/ 7931565 h 10394676"/>
                <a:gd name="connsiteX163" fmla="*/ 2057755 w 10375356"/>
                <a:gd name="connsiteY163" fmla="*/ 7666599 h 10394676"/>
                <a:gd name="connsiteX164" fmla="*/ 2322721 w 10375356"/>
                <a:gd name="connsiteY164" fmla="*/ 7401633 h 10394676"/>
                <a:gd name="connsiteX165" fmla="*/ 674333 w 10375356"/>
                <a:gd name="connsiteY165" fmla="*/ 7401633 h 10394676"/>
                <a:gd name="connsiteX166" fmla="*/ 939299 w 10375356"/>
                <a:gd name="connsiteY166" fmla="*/ 7666599 h 10394676"/>
                <a:gd name="connsiteX167" fmla="*/ 777537 w 10375356"/>
                <a:gd name="connsiteY167" fmla="*/ 7910765 h 10394676"/>
                <a:gd name="connsiteX168" fmla="*/ 769452 w 10375356"/>
                <a:gd name="connsiteY168" fmla="*/ 7913271 h 10394676"/>
                <a:gd name="connsiteX169" fmla="*/ 713980 w 10375356"/>
                <a:gd name="connsiteY169" fmla="*/ 7821961 h 10394676"/>
                <a:gd name="connsiteX170" fmla="*/ 739241 w 10375356"/>
                <a:gd name="connsiteY170" fmla="*/ 7816897 h 10394676"/>
                <a:gd name="connsiteX171" fmla="*/ 838662 w 10375356"/>
                <a:gd name="connsiteY171" fmla="*/ 7666599 h 10394676"/>
                <a:gd name="connsiteX172" fmla="*/ 675607 w 10375356"/>
                <a:gd name="connsiteY172" fmla="*/ 7503545 h 10394676"/>
                <a:gd name="connsiteX173" fmla="*/ 611973 w 10375356"/>
                <a:gd name="connsiteY173" fmla="*/ 7516304 h 10394676"/>
                <a:gd name="connsiteX174" fmla="*/ 564501 w 10375356"/>
                <a:gd name="connsiteY174" fmla="*/ 7548238 h 10394676"/>
                <a:gd name="connsiteX175" fmla="*/ 518632 w 10375356"/>
                <a:gd name="connsiteY175" fmla="*/ 7453019 h 10394676"/>
                <a:gd name="connsiteX176" fmla="*/ 526119 w 10375356"/>
                <a:gd name="connsiteY176" fmla="*/ 7446844 h 10394676"/>
                <a:gd name="connsiteX177" fmla="*/ 674333 w 10375356"/>
                <a:gd name="connsiteY177" fmla="*/ 7401633 h 10394676"/>
                <a:gd name="connsiteX178" fmla="*/ 8148089 w 10375356"/>
                <a:gd name="connsiteY178" fmla="*/ 7094869 h 10394676"/>
                <a:gd name="connsiteX179" fmla="*/ 8148089 w 10375356"/>
                <a:gd name="connsiteY179" fmla="*/ 7097179 h 10394676"/>
                <a:gd name="connsiteX180" fmla="*/ 8146686 w 10375356"/>
                <a:gd name="connsiteY180" fmla="*/ 7097179 h 10394676"/>
                <a:gd name="connsiteX181" fmla="*/ 8665281 w 10375356"/>
                <a:gd name="connsiteY181" fmla="*/ 6791449 h 10394676"/>
                <a:gd name="connsiteX182" fmla="*/ 9176104 w 10375356"/>
                <a:gd name="connsiteY182" fmla="*/ 6791449 h 10394676"/>
                <a:gd name="connsiteX183" fmla="*/ 9176104 w 10375356"/>
                <a:gd name="connsiteY183" fmla="*/ 6893357 h 10394676"/>
                <a:gd name="connsiteX184" fmla="*/ 8665281 w 10375356"/>
                <a:gd name="connsiteY184" fmla="*/ 6893357 h 10394676"/>
                <a:gd name="connsiteX185" fmla="*/ 2066681 w 10375356"/>
                <a:gd name="connsiteY185" fmla="*/ 6791449 h 10394676"/>
                <a:gd name="connsiteX186" fmla="*/ 2098040 w 10375356"/>
                <a:gd name="connsiteY186" fmla="*/ 6791449 h 10394676"/>
                <a:gd name="connsiteX187" fmla="*/ 2133958 w 10375356"/>
                <a:gd name="connsiteY187" fmla="*/ 6866010 h 10394676"/>
                <a:gd name="connsiteX188" fmla="*/ 2150572 w 10375356"/>
                <a:gd name="connsiteY188" fmla="*/ 6893357 h 10394676"/>
                <a:gd name="connsiteX189" fmla="*/ 2066681 w 10375356"/>
                <a:gd name="connsiteY189" fmla="*/ 6893357 h 10394676"/>
                <a:gd name="connsiteX190" fmla="*/ 419562 w 10375356"/>
                <a:gd name="connsiteY190" fmla="*/ 6791449 h 10394676"/>
                <a:gd name="connsiteX191" fmla="*/ 930385 w 10375356"/>
                <a:gd name="connsiteY191" fmla="*/ 6791449 h 10394676"/>
                <a:gd name="connsiteX192" fmla="*/ 930385 w 10375356"/>
                <a:gd name="connsiteY192" fmla="*/ 6893357 h 10394676"/>
                <a:gd name="connsiteX193" fmla="*/ 419562 w 10375356"/>
                <a:gd name="connsiteY193" fmla="*/ 6893357 h 10394676"/>
                <a:gd name="connsiteX194" fmla="*/ 9745526 w 10375356"/>
                <a:gd name="connsiteY194" fmla="*/ 6679349 h 10394676"/>
                <a:gd name="connsiteX195" fmla="*/ 9582469 w 10375356"/>
                <a:gd name="connsiteY195" fmla="*/ 6842405 h 10394676"/>
                <a:gd name="connsiteX196" fmla="*/ 9745526 w 10375356"/>
                <a:gd name="connsiteY196" fmla="*/ 7005461 h 10394676"/>
                <a:gd name="connsiteX197" fmla="*/ 9908582 w 10375356"/>
                <a:gd name="connsiteY197" fmla="*/ 6842405 h 10394676"/>
                <a:gd name="connsiteX198" fmla="*/ 9745526 w 10375356"/>
                <a:gd name="connsiteY198" fmla="*/ 6679349 h 10394676"/>
                <a:gd name="connsiteX199" fmla="*/ 1498533 w 10375356"/>
                <a:gd name="connsiteY199" fmla="*/ 6679349 h 10394676"/>
                <a:gd name="connsiteX200" fmla="*/ 1335477 w 10375356"/>
                <a:gd name="connsiteY200" fmla="*/ 6842405 h 10394676"/>
                <a:gd name="connsiteX201" fmla="*/ 1498533 w 10375356"/>
                <a:gd name="connsiteY201" fmla="*/ 7005461 h 10394676"/>
                <a:gd name="connsiteX202" fmla="*/ 1661588 w 10375356"/>
                <a:gd name="connsiteY202" fmla="*/ 6842405 h 10394676"/>
                <a:gd name="connsiteX203" fmla="*/ 1498533 w 10375356"/>
                <a:gd name="connsiteY203" fmla="*/ 6679349 h 10394676"/>
                <a:gd name="connsiteX204" fmla="*/ 9744252 w 10375356"/>
                <a:gd name="connsiteY204" fmla="*/ 6577439 h 10394676"/>
                <a:gd name="connsiteX205" fmla="*/ 10009217 w 10375356"/>
                <a:gd name="connsiteY205" fmla="*/ 6842405 h 10394676"/>
                <a:gd name="connsiteX206" fmla="*/ 9744252 w 10375356"/>
                <a:gd name="connsiteY206" fmla="*/ 7107369 h 10394676"/>
                <a:gd name="connsiteX207" fmla="*/ 9479286 w 10375356"/>
                <a:gd name="connsiteY207" fmla="*/ 6842405 h 10394676"/>
                <a:gd name="connsiteX208" fmla="*/ 9744252 w 10375356"/>
                <a:gd name="connsiteY208" fmla="*/ 6577439 h 10394676"/>
                <a:gd name="connsiteX209" fmla="*/ 1499807 w 10375356"/>
                <a:gd name="connsiteY209" fmla="*/ 6577439 h 10394676"/>
                <a:gd name="connsiteX210" fmla="*/ 1764771 w 10375356"/>
                <a:gd name="connsiteY210" fmla="*/ 6842405 h 10394676"/>
                <a:gd name="connsiteX211" fmla="*/ 1499807 w 10375356"/>
                <a:gd name="connsiteY211" fmla="*/ 7107369 h 10394676"/>
                <a:gd name="connsiteX212" fmla="*/ 1234841 w 10375356"/>
                <a:gd name="connsiteY212" fmla="*/ 6842405 h 10394676"/>
                <a:gd name="connsiteX213" fmla="*/ 1499807 w 10375356"/>
                <a:gd name="connsiteY213" fmla="*/ 6577439 h 10394676"/>
                <a:gd name="connsiteX214" fmla="*/ 8921331 w 10375356"/>
                <a:gd name="connsiteY214" fmla="*/ 5855153 h 10394676"/>
                <a:gd name="connsiteX215" fmla="*/ 8758274 w 10375356"/>
                <a:gd name="connsiteY215" fmla="*/ 6018209 h 10394676"/>
                <a:gd name="connsiteX216" fmla="*/ 8921331 w 10375356"/>
                <a:gd name="connsiteY216" fmla="*/ 6181265 h 10394676"/>
                <a:gd name="connsiteX217" fmla="*/ 9084385 w 10375356"/>
                <a:gd name="connsiteY217" fmla="*/ 6018209 h 10394676"/>
                <a:gd name="connsiteX218" fmla="*/ 8921331 w 10375356"/>
                <a:gd name="connsiteY218" fmla="*/ 5855153 h 10394676"/>
                <a:gd name="connsiteX219" fmla="*/ 674337 w 10375356"/>
                <a:gd name="connsiteY219" fmla="*/ 5855153 h 10394676"/>
                <a:gd name="connsiteX220" fmla="*/ 511282 w 10375356"/>
                <a:gd name="connsiteY220" fmla="*/ 6018209 h 10394676"/>
                <a:gd name="connsiteX221" fmla="*/ 674337 w 10375356"/>
                <a:gd name="connsiteY221" fmla="*/ 6181265 h 10394676"/>
                <a:gd name="connsiteX222" fmla="*/ 837393 w 10375356"/>
                <a:gd name="connsiteY222" fmla="*/ 6018209 h 10394676"/>
                <a:gd name="connsiteX223" fmla="*/ 674337 w 10375356"/>
                <a:gd name="connsiteY223" fmla="*/ 5855153 h 10394676"/>
                <a:gd name="connsiteX224" fmla="*/ 10375356 w 10375356"/>
                <a:gd name="connsiteY224" fmla="*/ 5854333 h 10394676"/>
                <a:gd name="connsiteX225" fmla="*/ 10334572 w 10375356"/>
                <a:gd name="connsiteY225" fmla="*/ 6121561 h 10394676"/>
                <a:gd name="connsiteX226" fmla="*/ 10334472 w 10375356"/>
                <a:gd name="connsiteY226" fmla="*/ 6121413 h 10394676"/>
                <a:gd name="connsiteX227" fmla="*/ 10313672 w 10375356"/>
                <a:gd name="connsiteY227" fmla="*/ 6018209 h 10394676"/>
                <a:gd name="connsiteX228" fmla="*/ 10334472 w 10375356"/>
                <a:gd name="connsiteY228" fmla="*/ 5915005 h 10394676"/>
                <a:gd name="connsiteX229" fmla="*/ 9694571 w 10375356"/>
                <a:gd name="connsiteY229" fmla="*/ 5763433 h 10394676"/>
                <a:gd name="connsiteX230" fmla="*/ 9796481 w 10375356"/>
                <a:gd name="connsiteY230" fmla="*/ 5763433 h 10394676"/>
                <a:gd name="connsiteX231" fmla="*/ 9796481 w 10375356"/>
                <a:gd name="connsiteY231" fmla="*/ 6274257 h 10394676"/>
                <a:gd name="connsiteX232" fmla="*/ 9694571 w 10375356"/>
                <a:gd name="connsiteY232" fmla="*/ 6274257 h 10394676"/>
                <a:gd name="connsiteX233" fmla="*/ 1447575 w 10375356"/>
                <a:gd name="connsiteY233" fmla="*/ 5763433 h 10394676"/>
                <a:gd name="connsiteX234" fmla="*/ 1549485 w 10375356"/>
                <a:gd name="connsiteY234" fmla="*/ 5763433 h 10394676"/>
                <a:gd name="connsiteX235" fmla="*/ 1549485 w 10375356"/>
                <a:gd name="connsiteY235" fmla="*/ 6274257 h 10394676"/>
                <a:gd name="connsiteX236" fmla="*/ 1447575 w 10375356"/>
                <a:gd name="connsiteY236" fmla="*/ 6274257 h 10394676"/>
                <a:gd name="connsiteX237" fmla="*/ 8922604 w 10375356"/>
                <a:gd name="connsiteY237" fmla="*/ 5753243 h 10394676"/>
                <a:gd name="connsiteX238" fmla="*/ 9187569 w 10375356"/>
                <a:gd name="connsiteY238" fmla="*/ 6018209 h 10394676"/>
                <a:gd name="connsiteX239" fmla="*/ 8922604 w 10375356"/>
                <a:gd name="connsiteY239" fmla="*/ 6283173 h 10394676"/>
                <a:gd name="connsiteX240" fmla="*/ 8657638 w 10375356"/>
                <a:gd name="connsiteY240" fmla="*/ 6018209 h 10394676"/>
                <a:gd name="connsiteX241" fmla="*/ 8922604 w 10375356"/>
                <a:gd name="connsiteY241" fmla="*/ 5753243 h 10394676"/>
                <a:gd name="connsiteX242" fmla="*/ 675610 w 10375356"/>
                <a:gd name="connsiteY242" fmla="*/ 5753243 h 10394676"/>
                <a:gd name="connsiteX243" fmla="*/ 940577 w 10375356"/>
                <a:gd name="connsiteY243" fmla="*/ 6018209 h 10394676"/>
                <a:gd name="connsiteX244" fmla="*/ 675610 w 10375356"/>
                <a:gd name="connsiteY244" fmla="*/ 6283173 h 10394676"/>
                <a:gd name="connsiteX245" fmla="*/ 410646 w 10375356"/>
                <a:gd name="connsiteY245" fmla="*/ 6018209 h 10394676"/>
                <a:gd name="connsiteX246" fmla="*/ 675610 w 10375356"/>
                <a:gd name="connsiteY246" fmla="*/ 5753243 h 10394676"/>
                <a:gd name="connsiteX247" fmla="*/ 9489477 w 10375356"/>
                <a:gd name="connsiteY247" fmla="*/ 5143057 h 10394676"/>
                <a:gd name="connsiteX248" fmla="*/ 10000300 w 10375356"/>
                <a:gd name="connsiteY248" fmla="*/ 5143057 h 10394676"/>
                <a:gd name="connsiteX249" fmla="*/ 10000300 w 10375356"/>
                <a:gd name="connsiteY249" fmla="*/ 5244969 h 10394676"/>
                <a:gd name="connsiteX250" fmla="*/ 9489477 w 10375356"/>
                <a:gd name="connsiteY250" fmla="*/ 5244969 h 10394676"/>
                <a:gd name="connsiteX251" fmla="*/ 8706634 w 10375356"/>
                <a:gd name="connsiteY251" fmla="*/ 5143057 h 10394676"/>
                <a:gd name="connsiteX252" fmla="*/ 9176104 w 10375356"/>
                <a:gd name="connsiteY252" fmla="*/ 5143057 h 10394676"/>
                <a:gd name="connsiteX253" fmla="*/ 9176104 w 10375356"/>
                <a:gd name="connsiteY253" fmla="*/ 5244969 h 10394676"/>
                <a:gd name="connsiteX254" fmla="*/ 8707060 w 10375356"/>
                <a:gd name="connsiteY254" fmla="*/ 5244969 h 10394676"/>
                <a:gd name="connsiteX255" fmla="*/ 8709420 w 10375356"/>
                <a:gd name="connsiteY255" fmla="*/ 5198237 h 10394676"/>
                <a:gd name="connsiteX256" fmla="*/ 1242485 w 10375356"/>
                <a:gd name="connsiteY256" fmla="*/ 5143057 h 10394676"/>
                <a:gd name="connsiteX257" fmla="*/ 1714449 w 10375356"/>
                <a:gd name="connsiteY257" fmla="*/ 5143057 h 10394676"/>
                <a:gd name="connsiteX258" fmla="*/ 1711662 w 10375356"/>
                <a:gd name="connsiteY258" fmla="*/ 5198237 h 10394676"/>
                <a:gd name="connsiteX259" fmla="*/ 1714022 w 10375356"/>
                <a:gd name="connsiteY259" fmla="*/ 5244969 h 10394676"/>
                <a:gd name="connsiteX260" fmla="*/ 1242485 w 10375356"/>
                <a:gd name="connsiteY260" fmla="*/ 5244969 h 10394676"/>
                <a:gd name="connsiteX261" fmla="*/ 2787 w 10375356"/>
                <a:gd name="connsiteY261" fmla="*/ 5143057 h 10394676"/>
                <a:gd name="connsiteX262" fmla="*/ 97302 w 10375356"/>
                <a:gd name="connsiteY262" fmla="*/ 5143057 h 10394676"/>
                <a:gd name="connsiteX263" fmla="*/ 97302 w 10375356"/>
                <a:gd name="connsiteY263" fmla="*/ 5244969 h 10394676"/>
                <a:gd name="connsiteX264" fmla="*/ 2360 w 10375356"/>
                <a:gd name="connsiteY264" fmla="*/ 5244969 h 10394676"/>
                <a:gd name="connsiteX265" fmla="*/ 0 w 10375356"/>
                <a:gd name="connsiteY265" fmla="*/ 5198237 h 10394676"/>
                <a:gd name="connsiteX266" fmla="*/ 623389 w 10375356"/>
                <a:gd name="connsiteY266" fmla="*/ 4939239 h 10394676"/>
                <a:gd name="connsiteX267" fmla="*/ 725299 w 10375356"/>
                <a:gd name="connsiteY267" fmla="*/ 4939239 h 10394676"/>
                <a:gd name="connsiteX268" fmla="*/ 725299 w 10375356"/>
                <a:gd name="connsiteY268" fmla="*/ 5450061 h 10394676"/>
                <a:gd name="connsiteX269" fmla="*/ 623389 w 10375356"/>
                <a:gd name="connsiteY269" fmla="*/ 5450061 h 10394676"/>
                <a:gd name="connsiteX270" fmla="*/ 86723 w 10375356"/>
                <a:gd name="connsiteY270" fmla="*/ 4273524 h 10394676"/>
                <a:gd name="connsiteX271" fmla="*/ 106218 w 10375356"/>
                <a:gd name="connsiteY271" fmla="*/ 4371093 h 10394676"/>
                <a:gd name="connsiteX272" fmla="*/ 85418 w 10375356"/>
                <a:gd name="connsiteY272" fmla="*/ 4474296 h 10394676"/>
                <a:gd name="connsiteX273" fmla="*/ 47492 w 10375356"/>
                <a:gd name="connsiteY273" fmla="*/ 4530579 h 10394676"/>
                <a:gd name="connsiteX274" fmla="*/ 9745526 w 10375356"/>
                <a:gd name="connsiteY274" fmla="*/ 4208037 h 10394676"/>
                <a:gd name="connsiteX275" fmla="*/ 9582469 w 10375356"/>
                <a:gd name="connsiteY275" fmla="*/ 4371093 h 10394676"/>
                <a:gd name="connsiteX276" fmla="*/ 9745526 w 10375356"/>
                <a:gd name="connsiteY276" fmla="*/ 4534147 h 10394676"/>
                <a:gd name="connsiteX277" fmla="*/ 9908582 w 10375356"/>
                <a:gd name="connsiteY277" fmla="*/ 4371093 h 10394676"/>
                <a:gd name="connsiteX278" fmla="*/ 9745526 w 10375356"/>
                <a:gd name="connsiteY278" fmla="*/ 4208037 h 10394676"/>
                <a:gd name="connsiteX279" fmla="*/ 1498539 w 10375356"/>
                <a:gd name="connsiteY279" fmla="*/ 4208037 h 10394676"/>
                <a:gd name="connsiteX280" fmla="*/ 1335482 w 10375356"/>
                <a:gd name="connsiteY280" fmla="*/ 4371093 h 10394676"/>
                <a:gd name="connsiteX281" fmla="*/ 1498539 w 10375356"/>
                <a:gd name="connsiteY281" fmla="*/ 4534147 h 10394676"/>
                <a:gd name="connsiteX282" fmla="*/ 1661593 w 10375356"/>
                <a:gd name="connsiteY282" fmla="*/ 4371093 h 10394676"/>
                <a:gd name="connsiteX283" fmla="*/ 1498539 w 10375356"/>
                <a:gd name="connsiteY283" fmla="*/ 4208037 h 10394676"/>
                <a:gd name="connsiteX284" fmla="*/ 8870376 w 10375356"/>
                <a:gd name="connsiteY284" fmla="*/ 4115043 h 10394676"/>
                <a:gd name="connsiteX285" fmla="*/ 8972285 w 10375356"/>
                <a:gd name="connsiteY285" fmla="*/ 4115043 h 10394676"/>
                <a:gd name="connsiteX286" fmla="*/ 8972285 w 10375356"/>
                <a:gd name="connsiteY286" fmla="*/ 4625865 h 10394676"/>
                <a:gd name="connsiteX287" fmla="*/ 8870376 w 10375356"/>
                <a:gd name="connsiteY287" fmla="*/ 4625865 h 10394676"/>
                <a:gd name="connsiteX288" fmla="*/ 623387 w 10375356"/>
                <a:gd name="connsiteY288" fmla="*/ 4115043 h 10394676"/>
                <a:gd name="connsiteX289" fmla="*/ 725297 w 10375356"/>
                <a:gd name="connsiteY289" fmla="*/ 4115043 h 10394676"/>
                <a:gd name="connsiteX290" fmla="*/ 725297 w 10375356"/>
                <a:gd name="connsiteY290" fmla="*/ 4625865 h 10394676"/>
                <a:gd name="connsiteX291" fmla="*/ 623387 w 10375356"/>
                <a:gd name="connsiteY291" fmla="*/ 4625865 h 10394676"/>
                <a:gd name="connsiteX292" fmla="*/ 9744252 w 10375356"/>
                <a:gd name="connsiteY292" fmla="*/ 4106125 h 10394676"/>
                <a:gd name="connsiteX293" fmla="*/ 10009217 w 10375356"/>
                <a:gd name="connsiteY293" fmla="*/ 4371093 h 10394676"/>
                <a:gd name="connsiteX294" fmla="*/ 9744252 w 10375356"/>
                <a:gd name="connsiteY294" fmla="*/ 4636057 h 10394676"/>
                <a:gd name="connsiteX295" fmla="*/ 9479286 w 10375356"/>
                <a:gd name="connsiteY295" fmla="*/ 4371093 h 10394676"/>
                <a:gd name="connsiteX296" fmla="*/ 9744252 w 10375356"/>
                <a:gd name="connsiteY296" fmla="*/ 4106125 h 10394676"/>
                <a:gd name="connsiteX297" fmla="*/ 1499812 w 10375356"/>
                <a:gd name="connsiteY297" fmla="*/ 4106125 h 10394676"/>
                <a:gd name="connsiteX298" fmla="*/ 1764778 w 10375356"/>
                <a:gd name="connsiteY298" fmla="*/ 4371093 h 10394676"/>
                <a:gd name="connsiteX299" fmla="*/ 1499812 w 10375356"/>
                <a:gd name="connsiteY299" fmla="*/ 4636057 h 10394676"/>
                <a:gd name="connsiteX300" fmla="*/ 1234846 w 10375356"/>
                <a:gd name="connsiteY300" fmla="*/ 4371093 h 10394676"/>
                <a:gd name="connsiteX301" fmla="*/ 1499812 w 10375356"/>
                <a:gd name="connsiteY301" fmla="*/ 4106125 h 10394676"/>
                <a:gd name="connsiteX302" fmla="*/ 9489477 w 10375356"/>
                <a:gd name="connsiteY302" fmla="*/ 3495941 h 10394676"/>
                <a:gd name="connsiteX303" fmla="*/ 10000300 w 10375356"/>
                <a:gd name="connsiteY303" fmla="*/ 3495941 h 10394676"/>
                <a:gd name="connsiteX304" fmla="*/ 10000300 w 10375356"/>
                <a:gd name="connsiteY304" fmla="*/ 3597851 h 10394676"/>
                <a:gd name="connsiteX305" fmla="*/ 9489477 w 10375356"/>
                <a:gd name="connsiteY305" fmla="*/ 3597851 h 10394676"/>
                <a:gd name="connsiteX306" fmla="*/ 2066685 w 10375356"/>
                <a:gd name="connsiteY306" fmla="*/ 3495941 h 10394676"/>
                <a:gd name="connsiteX307" fmla="*/ 2154931 w 10375356"/>
                <a:gd name="connsiteY307" fmla="*/ 3495941 h 10394676"/>
                <a:gd name="connsiteX308" fmla="*/ 2133958 w 10375356"/>
                <a:gd name="connsiteY308" fmla="*/ 3530464 h 10394676"/>
                <a:gd name="connsiteX309" fmla="*/ 2101496 w 10375356"/>
                <a:gd name="connsiteY309" fmla="*/ 3597851 h 10394676"/>
                <a:gd name="connsiteX310" fmla="*/ 2066685 w 10375356"/>
                <a:gd name="connsiteY310" fmla="*/ 3597851 h 10394676"/>
                <a:gd name="connsiteX311" fmla="*/ 674343 w 10375356"/>
                <a:gd name="connsiteY311" fmla="*/ 3383841 h 10394676"/>
                <a:gd name="connsiteX312" fmla="*/ 511289 w 10375356"/>
                <a:gd name="connsiteY312" fmla="*/ 3546897 h 10394676"/>
                <a:gd name="connsiteX313" fmla="*/ 674343 w 10375356"/>
                <a:gd name="connsiteY313" fmla="*/ 3709953 h 10394676"/>
                <a:gd name="connsiteX314" fmla="*/ 837399 w 10375356"/>
                <a:gd name="connsiteY314" fmla="*/ 3546897 h 10394676"/>
                <a:gd name="connsiteX315" fmla="*/ 674343 w 10375356"/>
                <a:gd name="connsiteY315" fmla="*/ 3383841 h 10394676"/>
                <a:gd name="connsiteX316" fmla="*/ 8870376 w 10375356"/>
                <a:gd name="connsiteY316" fmla="*/ 3292121 h 10394676"/>
                <a:gd name="connsiteX317" fmla="*/ 8972285 w 10375356"/>
                <a:gd name="connsiteY317" fmla="*/ 3292121 h 10394676"/>
                <a:gd name="connsiteX318" fmla="*/ 8972285 w 10375356"/>
                <a:gd name="connsiteY318" fmla="*/ 3802945 h 10394676"/>
                <a:gd name="connsiteX319" fmla="*/ 8870376 w 10375356"/>
                <a:gd name="connsiteY319" fmla="*/ 3802945 h 10394676"/>
                <a:gd name="connsiteX320" fmla="*/ 8142327 w 10375356"/>
                <a:gd name="connsiteY320" fmla="*/ 3292121 h 10394676"/>
                <a:gd name="connsiteX321" fmla="*/ 8148089 w 10375356"/>
                <a:gd name="connsiteY321" fmla="*/ 3292121 h 10394676"/>
                <a:gd name="connsiteX322" fmla="*/ 8148089 w 10375356"/>
                <a:gd name="connsiteY322" fmla="*/ 3301606 h 10394676"/>
                <a:gd name="connsiteX323" fmla="*/ 1447583 w 10375356"/>
                <a:gd name="connsiteY323" fmla="*/ 3292121 h 10394676"/>
                <a:gd name="connsiteX324" fmla="*/ 1549493 w 10375356"/>
                <a:gd name="connsiteY324" fmla="*/ 3292121 h 10394676"/>
                <a:gd name="connsiteX325" fmla="*/ 1549493 w 10375356"/>
                <a:gd name="connsiteY325" fmla="*/ 3802945 h 10394676"/>
                <a:gd name="connsiteX326" fmla="*/ 1447583 w 10375356"/>
                <a:gd name="connsiteY326" fmla="*/ 3802945 h 10394676"/>
                <a:gd name="connsiteX327" fmla="*/ 675617 w 10375356"/>
                <a:gd name="connsiteY327" fmla="*/ 3281931 h 10394676"/>
                <a:gd name="connsiteX328" fmla="*/ 940583 w 10375356"/>
                <a:gd name="connsiteY328" fmla="*/ 3546897 h 10394676"/>
                <a:gd name="connsiteX329" fmla="*/ 675617 w 10375356"/>
                <a:gd name="connsiteY329" fmla="*/ 3811861 h 10394676"/>
                <a:gd name="connsiteX330" fmla="*/ 410652 w 10375356"/>
                <a:gd name="connsiteY330" fmla="*/ 3546897 h 10394676"/>
                <a:gd name="connsiteX331" fmla="*/ 675617 w 10375356"/>
                <a:gd name="connsiteY331" fmla="*/ 3281931 h 10394676"/>
                <a:gd name="connsiteX332" fmla="*/ 1242482 w 10375356"/>
                <a:gd name="connsiteY332" fmla="*/ 2671745 h 10394676"/>
                <a:gd name="connsiteX333" fmla="*/ 1753305 w 10375356"/>
                <a:gd name="connsiteY333" fmla="*/ 2671745 h 10394676"/>
                <a:gd name="connsiteX334" fmla="*/ 1753305 w 10375356"/>
                <a:gd name="connsiteY334" fmla="*/ 2773657 h 10394676"/>
                <a:gd name="connsiteX335" fmla="*/ 1242482 w 10375356"/>
                <a:gd name="connsiteY335" fmla="*/ 2773657 h 10394676"/>
                <a:gd name="connsiteX336" fmla="*/ 8921331 w 10375356"/>
                <a:gd name="connsiteY336" fmla="*/ 2560919 h 10394676"/>
                <a:gd name="connsiteX337" fmla="*/ 8758275 w 10375356"/>
                <a:gd name="connsiteY337" fmla="*/ 2723975 h 10394676"/>
                <a:gd name="connsiteX338" fmla="*/ 8921331 w 10375356"/>
                <a:gd name="connsiteY338" fmla="*/ 2887029 h 10394676"/>
                <a:gd name="connsiteX339" fmla="*/ 9084386 w 10375356"/>
                <a:gd name="connsiteY339" fmla="*/ 2723975 h 10394676"/>
                <a:gd name="connsiteX340" fmla="*/ 8921331 w 10375356"/>
                <a:gd name="connsiteY340" fmla="*/ 2560919 h 10394676"/>
                <a:gd name="connsiteX341" fmla="*/ 2322726 w 10375356"/>
                <a:gd name="connsiteY341" fmla="*/ 2560919 h 10394676"/>
                <a:gd name="connsiteX342" fmla="*/ 2159671 w 10375356"/>
                <a:gd name="connsiteY342" fmla="*/ 2723975 h 10394676"/>
                <a:gd name="connsiteX343" fmla="*/ 2322726 w 10375356"/>
                <a:gd name="connsiteY343" fmla="*/ 2887029 h 10394676"/>
                <a:gd name="connsiteX344" fmla="*/ 2485782 w 10375356"/>
                <a:gd name="connsiteY344" fmla="*/ 2723975 h 10394676"/>
                <a:gd name="connsiteX345" fmla="*/ 2322726 w 10375356"/>
                <a:gd name="connsiteY345" fmla="*/ 2560919 h 10394676"/>
                <a:gd name="connsiteX346" fmla="*/ 9694571 w 10375356"/>
                <a:gd name="connsiteY346" fmla="*/ 2553886 h 10394676"/>
                <a:gd name="connsiteX347" fmla="*/ 9792198 w 10375356"/>
                <a:gd name="connsiteY347" fmla="*/ 2714584 h 10394676"/>
                <a:gd name="connsiteX348" fmla="*/ 9796481 w 10375356"/>
                <a:gd name="connsiteY348" fmla="*/ 2723476 h 10394676"/>
                <a:gd name="connsiteX349" fmla="*/ 9796481 w 10375356"/>
                <a:gd name="connsiteY349" fmla="*/ 2978749 h 10394676"/>
                <a:gd name="connsiteX350" fmla="*/ 9694571 w 10375356"/>
                <a:gd name="connsiteY350" fmla="*/ 2978749 h 10394676"/>
                <a:gd name="connsiteX351" fmla="*/ 772671 w 10375356"/>
                <a:gd name="connsiteY351" fmla="*/ 2477905 h 10394676"/>
                <a:gd name="connsiteX352" fmla="*/ 778813 w 10375356"/>
                <a:gd name="connsiteY352" fmla="*/ 2479809 h 10394676"/>
                <a:gd name="connsiteX353" fmla="*/ 940575 w 10375356"/>
                <a:gd name="connsiteY353" fmla="*/ 2723975 h 10394676"/>
                <a:gd name="connsiteX354" fmla="*/ 675608 w 10375356"/>
                <a:gd name="connsiteY354" fmla="*/ 2988941 h 10394676"/>
                <a:gd name="connsiteX355" fmla="*/ 527394 w 10375356"/>
                <a:gd name="connsiteY355" fmla="*/ 2942835 h 10394676"/>
                <a:gd name="connsiteX356" fmla="*/ 521341 w 10375356"/>
                <a:gd name="connsiteY356" fmla="*/ 2937832 h 10394676"/>
                <a:gd name="connsiteX357" fmla="*/ 566336 w 10375356"/>
                <a:gd name="connsiteY357" fmla="*/ 2844427 h 10394676"/>
                <a:gd name="connsiteX358" fmla="*/ 610701 w 10375356"/>
                <a:gd name="connsiteY358" fmla="*/ 2874271 h 10394676"/>
                <a:gd name="connsiteX359" fmla="*/ 674334 w 10375356"/>
                <a:gd name="connsiteY359" fmla="*/ 2887029 h 10394676"/>
                <a:gd name="connsiteX360" fmla="*/ 837390 w 10375356"/>
                <a:gd name="connsiteY360" fmla="*/ 2723975 h 10394676"/>
                <a:gd name="connsiteX361" fmla="*/ 737968 w 10375356"/>
                <a:gd name="connsiteY361" fmla="*/ 2573678 h 10394676"/>
                <a:gd name="connsiteX362" fmla="*/ 717037 w 10375356"/>
                <a:gd name="connsiteY362" fmla="*/ 2569481 h 10394676"/>
                <a:gd name="connsiteX363" fmla="*/ 8046180 w 10375356"/>
                <a:gd name="connsiteY363" fmla="*/ 2467925 h 10394676"/>
                <a:gd name="connsiteX364" fmla="*/ 8148089 w 10375356"/>
                <a:gd name="connsiteY364" fmla="*/ 2467925 h 10394676"/>
                <a:gd name="connsiteX365" fmla="*/ 8148089 w 10375356"/>
                <a:gd name="connsiteY365" fmla="*/ 2978749 h 10394676"/>
                <a:gd name="connsiteX366" fmla="*/ 8046180 w 10375356"/>
                <a:gd name="connsiteY366" fmla="*/ 2978749 h 10394676"/>
                <a:gd name="connsiteX367" fmla="*/ 8921331 w 10375356"/>
                <a:gd name="connsiteY367" fmla="*/ 2459009 h 10394676"/>
                <a:gd name="connsiteX368" fmla="*/ 9186296 w 10375356"/>
                <a:gd name="connsiteY368" fmla="*/ 2723975 h 10394676"/>
                <a:gd name="connsiteX369" fmla="*/ 8921331 w 10375356"/>
                <a:gd name="connsiteY369" fmla="*/ 2988941 h 10394676"/>
                <a:gd name="connsiteX370" fmla="*/ 8656365 w 10375356"/>
                <a:gd name="connsiteY370" fmla="*/ 2723975 h 10394676"/>
                <a:gd name="connsiteX371" fmla="*/ 8921331 w 10375356"/>
                <a:gd name="connsiteY371" fmla="*/ 2459009 h 10394676"/>
                <a:gd name="connsiteX372" fmla="*/ 2322726 w 10375356"/>
                <a:gd name="connsiteY372" fmla="*/ 2459009 h 10394676"/>
                <a:gd name="connsiteX373" fmla="*/ 2587692 w 10375356"/>
                <a:gd name="connsiteY373" fmla="*/ 2723975 h 10394676"/>
                <a:gd name="connsiteX374" fmla="*/ 2322726 w 10375356"/>
                <a:gd name="connsiteY374" fmla="*/ 2988941 h 10394676"/>
                <a:gd name="connsiteX375" fmla="*/ 2057761 w 10375356"/>
                <a:gd name="connsiteY375" fmla="*/ 2723975 h 10394676"/>
                <a:gd name="connsiteX376" fmla="*/ 2322726 w 10375356"/>
                <a:gd name="connsiteY376" fmla="*/ 2459009 h 10394676"/>
                <a:gd name="connsiteX377" fmla="*/ 7842360 w 10375356"/>
                <a:gd name="connsiteY377" fmla="*/ 1848825 h 10394676"/>
                <a:gd name="connsiteX378" fmla="*/ 8353182 w 10375356"/>
                <a:gd name="connsiteY378" fmla="*/ 1848825 h 10394676"/>
                <a:gd name="connsiteX379" fmla="*/ 8353182 w 10375356"/>
                <a:gd name="connsiteY379" fmla="*/ 1950733 h 10394676"/>
                <a:gd name="connsiteX380" fmla="*/ 7842360 w 10375356"/>
                <a:gd name="connsiteY380" fmla="*/ 1950733 h 10394676"/>
                <a:gd name="connsiteX381" fmla="*/ 6223404 w 10375356"/>
                <a:gd name="connsiteY381" fmla="*/ 1848825 h 10394676"/>
                <a:gd name="connsiteX382" fmla="*/ 6704792 w 10375356"/>
                <a:gd name="connsiteY382" fmla="*/ 1848825 h 10394676"/>
                <a:gd name="connsiteX383" fmla="*/ 6704792 w 10375356"/>
                <a:gd name="connsiteY383" fmla="*/ 1950733 h 10394676"/>
                <a:gd name="connsiteX384" fmla="*/ 6512646 w 10375356"/>
                <a:gd name="connsiteY384" fmla="*/ 1950733 h 10394676"/>
                <a:gd name="connsiteX385" fmla="*/ 6413573 w 10375356"/>
                <a:gd name="connsiteY385" fmla="*/ 1911670 h 10394676"/>
                <a:gd name="connsiteX386" fmla="*/ 6251001 w 10375356"/>
                <a:gd name="connsiteY386" fmla="*/ 1856662 h 10394676"/>
                <a:gd name="connsiteX387" fmla="*/ 2890884 w 10375356"/>
                <a:gd name="connsiteY387" fmla="*/ 1848825 h 10394676"/>
                <a:gd name="connsiteX388" fmla="*/ 3401707 w 10375356"/>
                <a:gd name="connsiteY388" fmla="*/ 1848825 h 10394676"/>
                <a:gd name="connsiteX389" fmla="*/ 3401707 w 10375356"/>
                <a:gd name="connsiteY389" fmla="*/ 1950733 h 10394676"/>
                <a:gd name="connsiteX390" fmla="*/ 2890884 w 10375356"/>
                <a:gd name="connsiteY390" fmla="*/ 1950733 h 10394676"/>
                <a:gd name="connsiteX391" fmla="*/ 1242493 w 10375356"/>
                <a:gd name="connsiteY391" fmla="*/ 1848825 h 10394676"/>
                <a:gd name="connsiteX392" fmla="*/ 1753316 w 10375356"/>
                <a:gd name="connsiteY392" fmla="*/ 1848825 h 10394676"/>
                <a:gd name="connsiteX393" fmla="*/ 1753316 w 10375356"/>
                <a:gd name="connsiteY393" fmla="*/ 1950733 h 10394676"/>
                <a:gd name="connsiteX394" fmla="*/ 1242493 w 10375356"/>
                <a:gd name="connsiteY394" fmla="*/ 1950733 h 10394676"/>
                <a:gd name="connsiteX395" fmla="*/ 8921331 w 10375356"/>
                <a:gd name="connsiteY395" fmla="*/ 1736725 h 10394676"/>
                <a:gd name="connsiteX396" fmla="*/ 8758275 w 10375356"/>
                <a:gd name="connsiteY396" fmla="*/ 1899781 h 10394676"/>
                <a:gd name="connsiteX397" fmla="*/ 8921331 w 10375356"/>
                <a:gd name="connsiteY397" fmla="*/ 2062835 h 10394676"/>
                <a:gd name="connsiteX398" fmla="*/ 9084386 w 10375356"/>
                <a:gd name="connsiteY398" fmla="*/ 1899781 h 10394676"/>
                <a:gd name="connsiteX399" fmla="*/ 8921331 w 10375356"/>
                <a:gd name="connsiteY399" fmla="*/ 1736725 h 10394676"/>
                <a:gd name="connsiteX400" fmla="*/ 7223258 w 10375356"/>
                <a:gd name="connsiteY400" fmla="*/ 1643731 h 10394676"/>
                <a:gd name="connsiteX401" fmla="*/ 7325168 w 10375356"/>
                <a:gd name="connsiteY401" fmla="*/ 1643731 h 10394676"/>
                <a:gd name="connsiteX402" fmla="*/ 7325168 w 10375356"/>
                <a:gd name="connsiteY402" fmla="*/ 2154553 h 10394676"/>
                <a:gd name="connsiteX403" fmla="*/ 7223258 w 10375356"/>
                <a:gd name="connsiteY403" fmla="*/ 2154553 h 10394676"/>
                <a:gd name="connsiteX404" fmla="*/ 2271782 w 10375356"/>
                <a:gd name="connsiteY404" fmla="*/ 1643731 h 10394676"/>
                <a:gd name="connsiteX405" fmla="*/ 2373691 w 10375356"/>
                <a:gd name="connsiteY405" fmla="*/ 1643731 h 10394676"/>
                <a:gd name="connsiteX406" fmla="*/ 2373691 w 10375356"/>
                <a:gd name="connsiteY406" fmla="*/ 2154553 h 10394676"/>
                <a:gd name="connsiteX407" fmla="*/ 2271782 w 10375356"/>
                <a:gd name="connsiteY407" fmla="*/ 2154553 h 10394676"/>
                <a:gd name="connsiteX408" fmla="*/ 8921331 w 10375356"/>
                <a:gd name="connsiteY408" fmla="*/ 1634813 h 10394676"/>
                <a:gd name="connsiteX409" fmla="*/ 9024534 w 10375356"/>
                <a:gd name="connsiteY409" fmla="*/ 1655614 h 10394676"/>
                <a:gd name="connsiteX410" fmla="*/ 9036119 w 10375356"/>
                <a:gd name="connsiteY410" fmla="*/ 1661896 h 10394676"/>
                <a:gd name="connsiteX411" fmla="*/ 9067478 w 10375356"/>
                <a:gd name="connsiteY411" fmla="*/ 1694788 h 10394676"/>
                <a:gd name="connsiteX412" fmla="*/ 9168482 w 10375356"/>
                <a:gd name="connsiteY412" fmla="*/ 1811390 h 10394676"/>
                <a:gd name="connsiteX413" fmla="*/ 9186296 w 10375356"/>
                <a:gd name="connsiteY413" fmla="*/ 1899781 h 10394676"/>
                <a:gd name="connsiteX414" fmla="*/ 8921331 w 10375356"/>
                <a:gd name="connsiteY414" fmla="*/ 2164745 h 10394676"/>
                <a:gd name="connsiteX415" fmla="*/ 8656365 w 10375356"/>
                <a:gd name="connsiteY415" fmla="*/ 1899781 h 10394676"/>
                <a:gd name="connsiteX416" fmla="*/ 8921331 w 10375356"/>
                <a:gd name="connsiteY416" fmla="*/ 1634813 h 10394676"/>
                <a:gd name="connsiteX417" fmla="*/ 3969851 w 10375356"/>
                <a:gd name="connsiteY417" fmla="*/ 1634813 h 10394676"/>
                <a:gd name="connsiteX418" fmla="*/ 4214017 w 10375356"/>
                <a:gd name="connsiteY418" fmla="*/ 1796577 h 10394676"/>
                <a:gd name="connsiteX419" fmla="*/ 4223093 w 10375356"/>
                <a:gd name="connsiteY419" fmla="*/ 1841608 h 10394676"/>
                <a:gd name="connsiteX420" fmla="*/ 4170081 w 10375356"/>
                <a:gd name="connsiteY420" fmla="*/ 1856662 h 10394676"/>
                <a:gd name="connsiteX421" fmla="*/ 4127174 w 10375356"/>
                <a:gd name="connsiteY421" fmla="*/ 1871180 h 10394676"/>
                <a:gd name="connsiteX422" fmla="*/ 4120150 w 10375356"/>
                <a:gd name="connsiteY422" fmla="*/ 1836147 h 10394676"/>
                <a:gd name="connsiteX423" fmla="*/ 3969851 w 10375356"/>
                <a:gd name="connsiteY423" fmla="*/ 1736725 h 10394676"/>
                <a:gd name="connsiteX424" fmla="*/ 3806796 w 10375356"/>
                <a:gd name="connsiteY424" fmla="*/ 1899781 h 10394676"/>
                <a:gd name="connsiteX425" fmla="*/ 3819555 w 10375356"/>
                <a:gd name="connsiteY425" fmla="*/ 1963414 h 10394676"/>
                <a:gd name="connsiteX426" fmla="*/ 3832208 w 10375356"/>
                <a:gd name="connsiteY426" fmla="*/ 1982224 h 10394676"/>
                <a:gd name="connsiteX427" fmla="*/ 3741230 w 10375356"/>
                <a:gd name="connsiteY427" fmla="*/ 2026051 h 10394676"/>
                <a:gd name="connsiteX428" fmla="*/ 3725686 w 10375356"/>
                <a:gd name="connsiteY428" fmla="*/ 2002984 h 10394676"/>
                <a:gd name="connsiteX429" fmla="*/ 3704886 w 10375356"/>
                <a:gd name="connsiteY429" fmla="*/ 1899781 h 10394676"/>
                <a:gd name="connsiteX430" fmla="*/ 3969851 w 10375356"/>
                <a:gd name="connsiteY430" fmla="*/ 1634813 h 10394676"/>
                <a:gd name="connsiteX431" fmla="*/ 7842360 w 10375356"/>
                <a:gd name="connsiteY431" fmla="*/ 1024629 h 10394676"/>
                <a:gd name="connsiteX432" fmla="*/ 8330359 w 10375356"/>
                <a:gd name="connsiteY432" fmla="*/ 1024629 h 10394676"/>
                <a:gd name="connsiteX433" fmla="*/ 8353182 w 10375356"/>
                <a:gd name="connsiteY433" fmla="*/ 1042565 h 10394676"/>
                <a:gd name="connsiteX434" fmla="*/ 8353182 w 10375356"/>
                <a:gd name="connsiteY434" fmla="*/ 1126539 h 10394676"/>
                <a:gd name="connsiteX435" fmla="*/ 7842360 w 10375356"/>
                <a:gd name="connsiteY435" fmla="*/ 1126539 h 10394676"/>
                <a:gd name="connsiteX436" fmla="*/ 5371048 w 10375356"/>
                <a:gd name="connsiteY436" fmla="*/ 1024629 h 10394676"/>
                <a:gd name="connsiteX437" fmla="*/ 5881870 w 10375356"/>
                <a:gd name="connsiteY437" fmla="*/ 1024629 h 10394676"/>
                <a:gd name="connsiteX438" fmla="*/ 5881870 w 10375356"/>
                <a:gd name="connsiteY438" fmla="*/ 1126539 h 10394676"/>
                <a:gd name="connsiteX439" fmla="*/ 5371048 w 10375356"/>
                <a:gd name="connsiteY439" fmla="*/ 1126539 h 10394676"/>
                <a:gd name="connsiteX440" fmla="*/ 4538001 w 10375356"/>
                <a:gd name="connsiteY440" fmla="*/ 1024629 h 10394676"/>
                <a:gd name="connsiteX441" fmla="*/ 5048825 w 10375356"/>
                <a:gd name="connsiteY441" fmla="*/ 1024629 h 10394676"/>
                <a:gd name="connsiteX442" fmla="*/ 5048825 w 10375356"/>
                <a:gd name="connsiteY442" fmla="*/ 1126539 h 10394676"/>
                <a:gd name="connsiteX443" fmla="*/ 4538001 w 10375356"/>
                <a:gd name="connsiteY443" fmla="*/ 1126539 h 10394676"/>
                <a:gd name="connsiteX444" fmla="*/ 2890886 w 10375356"/>
                <a:gd name="connsiteY444" fmla="*/ 1024629 h 10394676"/>
                <a:gd name="connsiteX445" fmla="*/ 3401709 w 10375356"/>
                <a:gd name="connsiteY445" fmla="*/ 1024629 h 10394676"/>
                <a:gd name="connsiteX446" fmla="*/ 3401709 w 10375356"/>
                <a:gd name="connsiteY446" fmla="*/ 1126539 h 10394676"/>
                <a:gd name="connsiteX447" fmla="*/ 2890886 w 10375356"/>
                <a:gd name="connsiteY447" fmla="*/ 1126539 h 10394676"/>
                <a:gd name="connsiteX448" fmla="*/ 6450017 w 10375356"/>
                <a:gd name="connsiteY448" fmla="*/ 912529 h 10394676"/>
                <a:gd name="connsiteX449" fmla="*/ 6286962 w 10375356"/>
                <a:gd name="connsiteY449" fmla="*/ 1075585 h 10394676"/>
                <a:gd name="connsiteX450" fmla="*/ 6450017 w 10375356"/>
                <a:gd name="connsiteY450" fmla="*/ 1238639 h 10394676"/>
                <a:gd name="connsiteX451" fmla="*/ 6613073 w 10375356"/>
                <a:gd name="connsiteY451" fmla="*/ 1075585 h 10394676"/>
                <a:gd name="connsiteX452" fmla="*/ 6450017 w 10375356"/>
                <a:gd name="connsiteY452" fmla="*/ 912529 h 10394676"/>
                <a:gd name="connsiteX453" fmla="*/ 2373692 w 10375356"/>
                <a:gd name="connsiteY453" fmla="*/ 828587 h 10394676"/>
                <a:gd name="connsiteX454" fmla="*/ 2373692 w 10375356"/>
                <a:gd name="connsiteY454" fmla="*/ 1331633 h 10394676"/>
                <a:gd name="connsiteX455" fmla="*/ 2271782 w 10375356"/>
                <a:gd name="connsiteY455" fmla="*/ 1331633 h 10394676"/>
                <a:gd name="connsiteX456" fmla="*/ 2271782 w 10375356"/>
                <a:gd name="connsiteY456" fmla="*/ 895706 h 10394676"/>
                <a:gd name="connsiteX457" fmla="*/ 2297278 w 10375356"/>
                <a:gd name="connsiteY457" fmla="*/ 877575 h 10394676"/>
                <a:gd name="connsiteX458" fmla="*/ 7223258 w 10375356"/>
                <a:gd name="connsiteY458" fmla="*/ 820809 h 10394676"/>
                <a:gd name="connsiteX459" fmla="*/ 7325168 w 10375356"/>
                <a:gd name="connsiteY459" fmla="*/ 820809 h 10394676"/>
                <a:gd name="connsiteX460" fmla="*/ 7325168 w 10375356"/>
                <a:gd name="connsiteY460" fmla="*/ 1331633 h 10394676"/>
                <a:gd name="connsiteX461" fmla="*/ 7223258 w 10375356"/>
                <a:gd name="connsiteY461" fmla="*/ 1331633 h 10394676"/>
                <a:gd name="connsiteX462" fmla="*/ 3918899 w 10375356"/>
                <a:gd name="connsiteY462" fmla="*/ 820809 h 10394676"/>
                <a:gd name="connsiteX463" fmla="*/ 4020808 w 10375356"/>
                <a:gd name="connsiteY463" fmla="*/ 820809 h 10394676"/>
                <a:gd name="connsiteX464" fmla="*/ 4020808 w 10375356"/>
                <a:gd name="connsiteY464" fmla="*/ 1331633 h 10394676"/>
                <a:gd name="connsiteX465" fmla="*/ 3918899 w 10375356"/>
                <a:gd name="connsiteY465" fmla="*/ 1331633 h 10394676"/>
                <a:gd name="connsiteX466" fmla="*/ 6451292 w 10375356"/>
                <a:gd name="connsiteY466" fmla="*/ 810617 h 10394676"/>
                <a:gd name="connsiteX467" fmla="*/ 6716257 w 10375356"/>
                <a:gd name="connsiteY467" fmla="*/ 1075585 h 10394676"/>
                <a:gd name="connsiteX468" fmla="*/ 6451292 w 10375356"/>
                <a:gd name="connsiteY468" fmla="*/ 1340549 h 10394676"/>
                <a:gd name="connsiteX469" fmla="*/ 6186326 w 10375356"/>
                <a:gd name="connsiteY469" fmla="*/ 1075585 h 10394676"/>
                <a:gd name="connsiteX470" fmla="*/ 6451292 w 10375356"/>
                <a:gd name="connsiteY470" fmla="*/ 810617 h 10394676"/>
                <a:gd name="connsiteX471" fmla="*/ 6399063 w 10375356"/>
                <a:gd name="connsiteY471" fmla="*/ 125503 h 10394676"/>
                <a:gd name="connsiteX472" fmla="*/ 6500973 w 10375356"/>
                <a:gd name="connsiteY472" fmla="*/ 149024 h 10394676"/>
                <a:gd name="connsiteX473" fmla="*/ 6500973 w 10375356"/>
                <a:gd name="connsiteY473" fmla="*/ 508711 h 10394676"/>
                <a:gd name="connsiteX474" fmla="*/ 6399063 w 10375356"/>
                <a:gd name="connsiteY474" fmla="*/ 508711 h 10394676"/>
                <a:gd name="connsiteX475" fmla="*/ 4743094 w 10375356"/>
                <a:gd name="connsiteY475" fmla="*/ 101073 h 10394676"/>
                <a:gd name="connsiteX476" fmla="*/ 4845004 w 10375356"/>
                <a:gd name="connsiteY476" fmla="*/ 101073 h 10394676"/>
                <a:gd name="connsiteX477" fmla="*/ 4845004 w 10375356"/>
                <a:gd name="connsiteY477" fmla="*/ 508711 h 10394676"/>
                <a:gd name="connsiteX478" fmla="*/ 4743094 w 10375356"/>
                <a:gd name="connsiteY478" fmla="*/ 508711 h 10394676"/>
                <a:gd name="connsiteX479" fmla="*/ 4174642 w 10375356"/>
                <a:gd name="connsiteY479" fmla="*/ 91020 h 10394676"/>
                <a:gd name="connsiteX480" fmla="*/ 4214021 w 10375356"/>
                <a:gd name="connsiteY480" fmla="*/ 149458 h 10394676"/>
                <a:gd name="connsiteX481" fmla="*/ 4234820 w 10375356"/>
                <a:gd name="connsiteY481" fmla="*/ 252661 h 10394676"/>
                <a:gd name="connsiteX482" fmla="*/ 3969854 w 10375356"/>
                <a:gd name="connsiteY482" fmla="*/ 517629 h 10394676"/>
                <a:gd name="connsiteX483" fmla="*/ 3704889 w 10375356"/>
                <a:gd name="connsiteY483" fmla="*/ 252661 h 10394676"/>
                <a:gd name="connsiteX484" fmla="*/ 3714113 w 10375356"/>
                <a:gd name="connsiteY484" fmla="*/ 206895 h 10394676"/>
                <a:gd name="connsiteX485" fmla="*/ 3829928 w 10375356"/>
                <a:gd name="connsiteY485" fmla="*/ 174007 h 10394676"/>
                <a:gd name="connsiteX486" fmla="*/ 3819737 w 10375356"/>
                <a:gd name="connsiteY486" fmla="*/ 189028 h 10394676"/>
                <a:gd name="connsiteX487" fmla="*/ 3806799 w 10375356"/>
                <a:gd name="connsiteY487" fmla="*/ 252661 h 10394676"/>
                <a:gd name="connsiteX488" fmla="*/ 3969854 w 10375356"/>
                <a:gd name="connsiteY488" fmla="*/ 415717 h 10394676"/>
                <a:gd name="connsiteX489" fmla="*/ 4132911 w 10375356"/>
                <a:gd name="connsiteY489" fmla="*/ 252661 h 10394676"/>
                <a:gd name="connsiteX490" fmla="*/ 4085300 w 10375356"/>
                <a:gd name="connsiteY490" fmla="*/ 137218 h 10394676"/>
                <a:gd name="connsiteX491" fmla="*/ 4056168 w 10375356"/>
                <a:gd name="connsiteY491" fmla="*/ 117622 h 10394676"/>
                <a:gd name="connsiteX492" fmla="*/ 4160436 w 10375356"/>
                <a:gd name="connsiteY492" fmla="*/ 93557 h 10394676"/>
                <a:gd name="connsiteX493" fmla="*/ 5625822 w 10375356"/>
                <a:gd name="connsiteY493" fmla="*/ 89607 h 10394676"/>
                <a:gd name="connsiteX494" fmla="*/ 5462766 w 10375356"/>
                <a:gd name="connsiteY494" fmla="*/ 252661 h 10394676"/>
                <a:gd name="connsiteX495" fmla="*/ 5625822 w 10375356"/>
                <a:gd name="connsiteY495" fmla="*/ 415717 h 10394676"/>
                <a:gd name="connsiteX496" fmla="*/ 5788878 w 10375356"/>
                <a:gd name="connsiteY496" fmla="*/ 252661 h 10394676"/>
                <a:gd name="connsiteX497" fmla="*/ 5625822 w 10375356"/>
                <a:gd name="connsiteY497" fmla="*/ 89607 h 10394676"/>
                <a:gd name="connsiteX498" fmla="*/ 5551305 w 10375356"/>
                <a:gd name="connsiteY498" fmla="*/ 0 h 10394676"/>
                <a:gd name="connsiteX499" fmla="*/ 5741268 w 10375356"/>
                <a:gd name="connsiteY499" fmla="*/ 14445 h 10394676"/>
                <a:gd name="connsiteX500" fmla="*/ 5775311 w 10375356"/>
                <a:gd name="connsiteY500" fmla="*/ 32907 h 10394676"/>
                <a:gd name="connsiteX501" fmla="*/ 5892062 w 10375356"/>
                <a:gd name="connsiteY501" fmla="*/ 252661 h 10394676"/>
                <a:gd name="connsiteX502" fmla="*/ 5627096 w 10375356"/>
                <a:gd name="connsiteY502" fmla="*/ 517629 h 10394676"/>
                <a:gd name="connsiteX503" fmla="*/ 5362131 w 10375356"/>
                <a:gd name="connsiteY503" fmla="*/ 252661 h 10394676"/>
                <a:gd name="connsiteX504" fmla="*/ 5523893 w 10375356"/>
                <a:gd name="connsiteY504" fmla="*/ 8497 h 1039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</a:cxnLst>
              <a:rect l="l" t="t" r="r" b="b"/>
              <a:pathLst>
                <a:path w="10375356" h="10394676">
                  <a:moveTo>
                    <a:pt x="6202887" y="10086957"/>
                  </a:moveTo>
                  <a:lnTo>
                    <a:pt x="6713710" y="10086957"/>
                  </a:lnTo>
                  <a:lnTo>
                    <a:pt x="6713710" y="10187665"/>
                  </a:lnTo>
                  <a:lnTo>
                    <a:pt x="6709472" y="10188869"/>
                  </a:lnTo>
                  <a:lnTo>
                    <a:pt x="6202887" y="10188869"/>
                  </a:lnTo>
                  <a:close/>
                  <a:moveTo>
                    <a:pt x="5634740" y="9974857"/>
                  </a:moveTo>
                  <a:cubicBezTo>
                    <a:pt x="5544295" y="9974857"/>
                    <a:pt x="5471684" y="10047469"/>
                    <a:pt x="5471684" y="10137913"/>
                  </a:cubicBezTo>
                  <a:cubicBezTo>
                    <a:pt x="5471684" y="10228357"/>
                    <a:pt x="5544295" y="10300969"/>
                    <a:pt x="5634740" y="10300969"/>
                  </a:cubicBezTo>
                  <a:cubicBezTo>
                    <a:pt x="5725185" y="10299693"/>
                    <a:pt x="5797795" y="10227083"/>
                    <a:pt x="5797795" y="10137913"/>
                  </a:cubicBezTo>
                  <a:cubicBezTo>
                    <a:pt x="5797795" y="10047469"/>
                    <a:pt x="5725185" y="9974857"/>
                    <a:pt x="5634740" y="9974857"/>
                  </a:cubicBezTo>
                  <a:close/>
                  <a:moveTo>
                    <a:pt x="7232175" y="9881865"/>
                  </a:moveTo>
                  <a:lnTo>
                    <a:pt x="7334085" y="9881865"/>
                  </a:lnTo>
                  <a:lnTo>
                    <a:pt x="7334085" y="9956193"/>
                  </a:lnTo>
                  <a:lnTo>
                    <a:pt x="7238719" y="9999307"/>
                  </a:lnTo>
                  <a:lnTo>
                    <a:pt x="7232175" y="10001887"/>
                  </a:lnTo>
                  <a:close/>
                  <a:moveTo>
                    <a:pt x="4751991" y="9881865"/>
                  </a:moveTo>
                  <a:lnTo>
                    <a:pt x="4853901" y="9881865"/>
                  </a:lnTo>
                  <a:lnTo>
                    <a:pt x="4853901" y="10290777"/>
                  </a:lnTo>
                  <a:lnTo>
                    <a:pt x="4751991" y="10290777"/>
                  </a:lnTo>
                  <a:close/>
                  <a:moveTo>
                    <a:pt x="5636013" y="9872947"/>
                  </a:moveTo>
                  <a:cubicBezTo>
                    <a:pt x="5782509" y="9872947"/>
                    <a:pt x="5900978" y="9991417"/>
                    <a:pt x="5900978" y="10137913"/>
                  </a:cubicBezTo>
                  <a:cubicBezTo>
                    <a:pt x="5900978" y="10247785"/>
                    <a:pt x="5834339" y="10341891"/>
                    <a:pt x="5739217" y="10382077"/>
                  </a:cubicBezTo>
                  <a:lnTo>
                    <a:pt x="5738756" y="10382220"/>
                  </a:lnTo>
                  <a:lnTo>
                    <a:pt x="5574951" y="10394676"/>
                  </a:lnTo>
                  <a:lnTo>
                    <a:pt x="5532810" y="10381361"/>
                  </a:lnTo>
                  <a:cubicBezTo>
                    <a:pt x="5437688" y="10340697"/>
                    <a:pt x="5371048" y="10246828"/>
                    <a:pt x="5371048" y="10137913"/>
                  </a:cubicBezTo>
                  <a:cubicBezTo>
                    <a:pt x="5371048" y="9991417"/>
                    <a:pt x="5489518" y="9872947"/>
                    <a:pt x="5636013" y="9872947"/>
                  </a:cubicBezTo>
                  <a:close/>
                  <a:moveTo>
                    <a:pt x="3978752" y="9872947"/>
                  </a:moveTo>
                  <a:cubicBezTo>
                    <a:pt x="4125249" y="9872947"/>
                    <a:pt x="4243718" y="9991417"/>
                    <a:pt x="4243718" y="10137913"/>
                  </a:cubicBezTo>
                  <a:cubicBezTo>
                    <a:pt x="4243718" y="10174537"/>
                    <a:pt x="4236314" y="10209409"/>
                    <a:pt x="4222918" y="10241117"/>
                  </a:cubicBezTo>
                  <a:lnTo>
                    <a:pt x="4179036" y="10306239"/>
                  </a:lnTo>
                  <a:lnTo>
                    <a:pt x="4160436" y="10302917"/>
                  </a:lnTo>
                  <a:lnTo>
                    <a:pt x="4056265" y="10278875"/>
                  </a:lnTo>
                  <a:lnTo>
                    <a:pt x="4094199" y="10253357"/>
                  </a:lnTo>
                  <a:cubicBezTo>
                    <a:pt x="4123657" y="10223899"/>
                    <a:pt x="4141809" y="10183135"/>
                    <a:pt x="4141809" y="10137913"/>
                  </a:cubicBezTo>
                  <a:cubicBezTo>
                    <a:pt x="4141809" y="10047469"/>
                    <a:pt x="4069199" y="9974857"/>
                    <a:pt x="3978752" y="9974857"/>
                  </a:cubicBezTo>
                  <a:cubicBezTo>
                    <a:pt x="3889581" y="9974857"/>
                    <a:pt x="3815698" y="10047469"/>
                    <a:pt x="3815698" y="10137913"/>
                  </a:cubicBezTo>
                  <a:cubicBezTo>
                    <a:pt x="3815698" y="10160524"/>
                    <a:pt x="3820237" y="10182021"/>
                    <a:pt x="3828457" y="10201547"/>
                  </a:cubicBezTo>
                  <a:lnTo>
                    <a:pt x="3845505" y="10226891"/>
                  </a:lnTo>
                  <a:lnTo>
                    <a:pt x="3724813" y="10192618"/>
                  </a:lnTo>
                  <a:lnTo>
                    <a:pt x="3713787" y="10137913"/>
                  </a:lnTo>
                  <a:cubicBezTo>
                    <a:pt x="3713787" y="9991417"/>
                    <a:pt x="3832257" y="9872947"/>
                    <a:pt x="3978752" y="9872947"/>
                  </a:cubicBezTo>
                  <a:close/>
                  <a:moveTo>
                    <a:pt x="3155832" y="9872947"/>
                  </a:moveTo>
                  <a:cubicBezTo>
                    <a:pt x="3265704" y="9872947"/>
                    <a:pt x="3359812" y="9939586"/>
                    <a:pt x="3399999" y="10034709"/>
                  </a:cubicBezTo>
                  <a:lnTo>
                    <a:pt x="3411035" y="10089469"/>
                  </a:lnTo>
                  <a:lnTo>
                    <a:pt x="3280434" y="10037975"/>
                  </a:lnTo>
                  <a:lnTo>
                    <a:pt x="3270003" y="10022469"/>
                  </a:lnTo>
                  <a:cubicBezTo>
                    <a:pt x="3240545" y="9993010"/>
                    <a:pt x="3199781" y="9974857"/>
                    <a:pt x="3154558" y="9974857"/>
                  </a:cubicBezTo>
                  <a:lnTo>
                    <a:pt x="3136355" y="9978507"/>
                  </a:lnTo>
                  <a:lnTo>
                    <a:pt x="3005935" y="9919545"/>
                  </a:lnTo>
                  <a:lnTo>
                    <a:pt x="3007618" y="9918157"/>
                  </a:lnTo>
                  <a:cubicBezTo>
                    <a:pt x="3049902" y="9889607"/>
                    <a:pt x="3100897" y="9872947"/>
                    <a:pt x="3155832" y="9872947"/>
                  </a:cubicBezTo>
                  <a:close/>
                  <a:moveTo>
                    <a:pt x="7851277" y="9262761"/>
                  </a:moveTo>
                  <a:lnTo>
                    <a:pt x="8362099" y="9262761"/>
                  </a:lnTo>
                  <a:lnTo>
                    <a:pt x="8362099" y="9346902"/>
                  </a:lnTo>
                  <a:lnTo>
                    <a:pt x="8339488" y="9364671"/>
                  </a:lnTo>
                  <a:lnTo>
                    <a:pt x="7851277" y="9364671"/>
                  </a:lnTo>
                  <a:close/>
                  <a:moveTo>
                    <a:pt x="5379965" y="9262761"/>
                  </a:moveTo>
                  <a:lnTo>
                    <a:pt x="5890787" y="9262761"/>
                  </a:lnTo>
                  <a:lnTo>
                    <a:pt x="5890787" y="9364671"/>
                  </a:lnTo>
                  <a:lnTo>
                    <a:pt x="5379965" y="9364671"/>
                  </a:lnTo>
                  <a:close/>
                  <a:moveTo>
                    <a:pt x="4546902" y="9262761"/>
                  </a:moveTo>
                  <a:lnTo>
                    <a:pt x="5057725" y="9262761"/>
                  </a:lnTo>
                  <a:lnTo>
                    <a:pt x="5057725" y="9364671"/>
                  </a:lnTo>
                  <a:lnTo>
                    <a:pt x="4546902" y="9364671"/>
                  </a:lnTo>
                  <a:close/>
                  <a:moveTo>
                    <a:pt x="2899787" y="9262761"/>
                  </a:moveTo>
                  <a:lnTo>
                    <a:pt x="3410609" y="9262761"/>
                  </a:lnTo>
                  <a:lnTo>
                    <a:pt x="3410609" y="9364671"/>
                  </a:lnTo>
                  <a:lnTo>
                    <a:pt x="2899787" y="9364671"/>
                  </a:lnTo>
                  <a:close/>
                  <a:moveTo>
                    <a:pt x="6450017" y="9150661"/>
                  </a:moveTo>
                  <a:cubicBezTo>
                    <a:pt x="6359572" y="9150661"/>
                    <a:pt x="6286962" y="9223273"/>
                    <a:pt x="6286962" y="9313717"/>
                  </a:cubicBezTo>
                  <a:cubicBezTo>
                    <a:pt x="6286962" y="9404161"/>
                    <a:pt x="6359572" y="9476773"/>
                    <a:pt x="6450017" y="9476773"/>
                  </a:cubicBezTo>
                  <a:cubicBezTo>
                    <a:pt x="6540463" y="9476773"/>
                    <a:pt x="6613073" y="9404161"/>
                    <a:pt x="6613073" y="9313717"/>
                  </a:cubicBezTo>
                  <a:cubicBezTo>
                    <a:pt x="6613073" y="9223273"/>
                    <a:pt x="6540463" y="9150661"/>
                    <a:pt x="6450017" y="9150661"/>
                  </a:cubicBezTo>
                  <a:close/>
                  <a:moveTo>
                    <a:pt x="3978754" y="9150661"/>
                  </a:moveTo>
                  <a:cubicBezTo>
                    <a:pt x="3889583" y="9150661"/>
                    <a:pt x="3815700" y="9223273"/>
                    <a:pt x="3815700" y="9313717"/>
                  </a:cubicBezTo>
                  <a:cubicBezTo>
                    <a:pt x="3815700" y="9404161"/>
                    <a:pt x="3888310" y="9476773"/>
                    <a:pt x="3978754" y="9476773"/>
                  </a:cubicBezTo>
                  <a:cubicBezTo>
                    <a:pt x="4069201" y="9476773"/>
                    <a:pt x="4141811" y="9404161"/>
                    <a:pt x="4141811" y="9313717"/>
                  </a:cubicBezTo>
                  <a:cubicBezTo>
                    <a:pt x="4141811" y="9223273"/>
                    <a:pt x="4069201" y="9150661"/>
                    <a:pt x="3978754" y="9150661"/>
                  </a:cubicBezTo>
                  <a:close/>
                  <a:moveTo>
                    <a:pt x="7232175" y="9057669"/>
                  </a:moveTo>
                  <a:lnTo>
                    <a:pt x="7334085" y="9057669"/>
                  </a:lnTo>
                  <a:lnTo>
                    <a:pt x="7334085" y="9568493"/>
                  </a:lnTo>
                  <a:lnTo>
                    <a:pt x="7232175" y="9568493"/>
                  </a:lnTo>
                  <a:close/>
                  <a:moveTo>
                    <a:pt x="2280685" y="9057669"/>
                  </a:moveTo>
                  <a:lnTo>
                    <a:pt x="2382595" y="9057669"/>
                  </a:lnTo>
                  <a:lnTo>
                    <a:pt x="2382595" y="9568493"/>
                  </a:lnTo>
                  <a:lnTo>
                    <a:pt x="2374638" y="9568493"/>
                  </a:lnTo>
                  <a:lnTo>
                    <a:pt x="2297278" y="9518899"/>
                  </a:lnTo>
                  <a:lnTo>
                    <a:pt x="2280685" y="9507099"/>
                  </a:lnTo>
                  <a:close/>
                  <a:moveTo>
                    <a:pt x="6450017" y="9048751"/>
                  </a:moveTo>
                  <a:cubicBezTo>
                    <a:pt x="6596513" y="9048751"/>
                    <a:pt x="6714982" y="9167221"/>
                    <a:pt x="6714982" y="9313717"/>
                  </a:cubicBezTo>
                  <a:cubicBezTo>
                    <a:pt x="6714982" y="9460213"/>
                    <a:pt x="6596513" y="9578681"/>
                    <a:pt x="6450017" y="9578681"/>
                  </a:cubicBezTo>
                  <a:cubicBezTo>
                    <a:pt x="6303522" y="9578681"/>
                    <a:pt x="6185052" y="9460213"/>
                    <a:pt x="6185052" y="9313717"/>
                  </a:cubicBezTo>
                  <a:cubicBezTo>
                    <a:pt x="6185052" y="9167221"/>
                    <a:pt x="6303522" y="9048751"/>
                    <a:pt x="6450017" y="9048751"/>
                  </a:cubicBezTo>
                  <a:close/>
                  <a:moveTo>
                    <a:pt x="3978754" y="9048751"/>
                  </a:moveTo>
                  <a:cubicBezTo>
                    <a:pt x="4125250" y="9048751"/>
                    <a:pt x="4243720" y="9167221"/>
                    <a:pt x="4243720" y="9313717"/>
                  </a:cubicBezTo>
                  <a:cubicBezTo>
                    <a:pt x="4243720" y="9460213"/>
                    <a:pt x="4125250" y="9578681"/>
                    <a:pt x="3978754" y="9578681"/>
                  </a:cubicBezTo>
                  <a:cubicBezTo>
                    <a:pt x="3832260" y="9578681"/>
                    <a:pt x="3713789" y="9460213"/>
                    <a:pt x="3713789" y="9313717"/>
                  </a:cubicBezTo>
                  <a:cubicBezTo>
                    <a:pt x="3713789" y="9167221"/>
                    <a:pt x="3832260" y="9048751"/>
                    <a:pt x="3978754" y="9048751"/>
                  </a:cubicBezTo>
                  <a:close/>
                  <a:moveTo>
                    <a:pt x="5676776" y="8665264"/>
                  </a:moveTo>
                  <a:lnTo>
                    <a:pt x="5676776" y="8745569"/>
                  </a:lnTo>
                  <a:lnTo>
                    <a:pt x="5574867" y="8745569"/>
                  </a:lnTo>
                  <a:lnTo>
                    <a:pt x="5574867" y="8678214"/>
                  </a:lnTo>
                  <a:close/>
                  <a:moveTo>
                    <a:pt x="3918880" y="8449859"/>
                  </a:moveTo>
                  <a:lnTo>
                    <a:pt x="4007509" y="8484804"/>
                  </a:lnTo>
                  <a:lnTo>
                    <a:pt x="4020789" y="8489298"/>
                  </a:lnTo>
                  <a:lnTo>
                    <a:pt x="4020789" y="8745569"/>
                  </a:lnTo>
                  <a:lnTo>
                    <a:pt x="3918880" y="8745569"/>
                  </a:lnTo>
                  <a:close/>
                  <a:moveTo>
                    <a:pt x="7018165" y="8438567"/>
                  </a:moveTo>
                  <a:lnTo>
                    <a:pt x="7528988" y="8438567"/>
                  </a:lnTo>
                  <a:lnTo>
                    <a:pt x="7528988" y="8540477"/>
                  </a:lnTo>
                  <a:lnTo>
                    <a:pt x="7018165" y="8540477"/>
                  </a:lnTo>
                  <a:close/>
                  <a:moveTo>
                    <a:pt x="6530840" y="8438567"/>
                  </a:moveTo>
                  <a:lnTo>
                    <a:pt x="6697148" y="8438567"/>
                  </a:lnTo>
                  <a:lnTo>
                    <a:pt x="6697148" y="8540477"/>
                  </a:lnTo>
                  <a:lnTo>
                    <a:pt x="6248661" y="8540477"/>
                  </a:lnTo>
                  <a:lnTo>
                    <a:pt x="6251001" y="8539813"/>
                  </a:lnTo>
                  <a:cubicBezTo>
                    <a:pt x="6305781" y="8522774"/>
                    <a:pt x="6359984" y="8504426"/>
                    <a:pt x="6413573" y="8484804"/>
                  </a:cubicBezTo>
                  <a:close/>
                  <a:moveTo>
                    <a:pt x="2066673" y="8438567"/>
                  </a:moveTo>
                  <a:lnTo>
                    <a:pt x="2577496" y="8438567"/>
                  </a:lnTo>
                  <a:lnTo>
                    <a:pt x="2577496" y="8540477"/>
                  </a:lnTo>
                  <a:lnTo>
                    <a:pt x="2066673" y="8540477"/>
                  </a:lnTo>
                  <a:close/>
                  <a:moveTo>
                    <a:pt x="1234837" y="8438567"/>
                  </a:moveTo>
                  <a:lnTo>
                    <a:pt x="1745660" y="8438567"/>
                  </a:lnTo>
                  <a:lnTo>
                    <a:pt x="1745660" y="8540477"/>
                  </a:lnTo>
                  <a:lnTo>
                    <a:pt x="1234837" y="8540477"/>
                  </a:lnTo>
                  <a:close/>
                  <a:moveTo>
                    <a:pt x="8870376" y="8234747"/>
                  </a:moveTo>
                  <a:lnTo>
                    <a:pt x="8972285" y="8234747"/>
                  </a:lnTo>
                  <a:lnTo>
                    <a:pt x="8972285" y="8745569"/>
                  </a:lnTo>
                  <a:lnTo>
                    <a:pt x="8870376" y="8745569"/>
                  </a:lnTo>
                  <a:close/>
                  <a:moveTo>
                    <a:pt x="8046180" y="8234747"/>
                  </a:moveTo>
                  <a:lnTo>
                    <a:pt x="8148089" y="8234747"/>
                  </a:lnTo>
                  <a:lnTo>
                    <a:pt x="8148089" y="8745569"/>
                  </a:lnTo>
                  <a:lnTo>
                    <a:pt x="8046180" y="8745569"/>
                  </a:lnTo>
                  <a:close/>
                  <a:moveTo>
                    <a:pt x="3094685" y="8234747"/>
                  </a:moveTo>
                  <a:lnTo>
                    <a:pt x="3196595" y="8234747"/>
                  </a:lnTo>
                  <a:lnTo>
                    <a:pt x="3196595" y="8745569"/>
                  </a:lnTo>
                  <a:lnTo>
                    <a:pt x="3094685" y="8745569"/>
                  </a:lnTo>
                  <a:close/>
                  <a:moveTo>
                    <a:pt x="9489477" y="7615645"/>
                  </a:moveTo>
                  <a:lnTo>
                    <a:pt x="9824110" y="7615645"/>
                  </a:lnTo>
                  <a:lnTo>
                    <a:pt x="9792198" y="7681890"/>
                  </a:lnTo>
                  <a:lnTo>
                    <a:pt x="9770531" y="7717555"/>
                  </a:lnTo>
                  <a:lnTo>
                    <a:pt x="9489477" y="7717555"/>
                  </a:lnTo>
                  <a:close/>
                  <a:moveTo>
                    <a:pt x="8666557" y="7615645"/>
                  </a:moveTo>
                  <a:lnTo>
                    <a:pt x="9177379" y="7615645"/>
                  </a:lnTo>
                  <a:lnTo>
                    <a:pt x="9177379" y="7717555"/>
                  </a:lnTo>
                  <a:lnTo>
                    <a:pt x="8666557" y="7717555"/>
                  </a:lnTo>
                  <a:close/>
                  <a:moveTo>
                    <a:pt x="2322721" y="7503545"/>
                  </a:moveTo>
                  <a:cubicBezTo>
                    <a:pt x="2232276" y="7503545"/>
                    <a:pt x="2159665" y="7576155"/>
                    <a:pt x="2159665" y="7666599"/>
                  </a:cubicBezTo>
                  <a:cubicBezTo>
                    <a:pt x="2159665" y="7757045"/>
                    <a:pt x="2232276" y="7829655"/>
                    <a:pt x="2322721" y="7829655"/>
                  </a:cubicBezTo>
                  <a:cubicBezTo>
                    <a:pt x="2411891" y="7828381"/>
                    <a:pt x="2485776" y="7755769"/>
                    <a:pt x="2485776" y="7666599"/>
                  </a:cubicBezTo>
                  <a:cubicBezTo>
                    <a:pt x="2485776" y="7576155"/>
                    <a:pt x="2413167" y="7503545"/>
                    <a:pt x="2322721" y="7503545"/>
                  </a:cubicBezTo>
                  <a:close/>
                  <a:moveTo>
                    <a:pt x="8046180" y="7410553"/>
                  </a:moveTo>
                  <a:lnTo>
                    <a:pt x="8148089" y="7410553"/>
                  </a:lnTo>
                  <a:lnTo>
                    <a:pt x="8148089" y="7921375"/>
                  </a:lnTo>
                  <a:lnTo>
                    <a:pt x="8046180" y="7921375"/>
                  </a:lnTo>
                  <a:close/>
                  <a:moveTo>
                    <a:pt x="1447573" y="7410553"/>
                  </a:moveTo>
                  <a:lnTo>
                    <a:pt x="1549483" y="7410553"/>
                  </a:lnTo>
                  <a:lnTo>
                    <a:pt x="1549483" y="7921375"/>
                  </a:lnTo>
                  <a:lnTo>
                    <a:pt x="1447573" y="7921375"/>
                  </a:lnTo>
                  <a:close/>
                  <a:moveTo>
                    <a:pt x="2322721" y="7401633"/>
                  </a:moveTo>
                  <a:cubicBezTo>
                    <a:pt x="2469216" y="7401633"/>
                    <a:pt x="2587686" y="7520105"/>
                    <a:pt x="2587686" y="7666599"/>
                  </a:cubicBezTo>
                  <a:cubicBezTo>
                    <a:pt x="2587686" y="7813095"/>
                    <a:pt x="2469216" y="7931565"/>
                    <a:pt x="2322721" y="7931565"/>
                  </a:cubicBezTo>
                  <a:cubicBezTo>
                    <a:pt x="2176225" y="7930291"/>
                    <a:pt x="2057755" y="7811821"/>
                    <a:pt x="2057755" y="7666599"/>
                  </a:cubicBezTo>
                  <a:cubicBezTo>
                    <a:pt x="2057755" y="7520105"/>
                    <a:pt x="2176225" y="7401633"/>
                    <a:pt x="2322721" y="7401633"/>
                  </a:cubicBezTo>
                  <a:close/>
                  <a:moveTo>
                    <a:pt x="674333" y="7401633"/>
                  </a:moveTo>
                  <a:cubicBezTo>
                    <a:pt x="820829" y="7401633"/>
                    <a:pt x="939299" y="7520105"/>
                    <a:pt x="939299" y="7666599"/>
                  </a:cubicBezTo>
                  <a:cubicBezTo>
                    <a:pt x="939299" y="7776471"/>
                    <a:pt x="872660" y="7870579"/>
                    <a:pt x="777537" y="7910765"/>
                  </a:cubicBezTo>
                  <a:lnTo>
                    <a:pt x="769452" y="7913271"/>
                  </a:lnTo>
                  <a:lnTo>
                    <a:pt x="713980" y="7821961"/>
                  </a:lnTo>
                  <a:lnTo>
                    <a:pt x="739241" y="7816897"/>
                  </a:lnTo>
                  <a:cubicBezTo>
                    <a:pt x="797819" y="7792235"/>
                    <a:pt x="838662" y="7734434"/>
                    <a:pt x="838662" y="7666599"/>
                  </a:cubicBezTo>
                  <a:cubicBezTo>
                    <a:pt x="838662" y="7576155"/>
                    <a:pt x="766051" y="7503545"/>
                    <a:pt x="675607" y="7503545"/>
                  </a:cubicBezTo>
                  <a:cubicBezTo>
                    <a:pt x="652996" y="7503545"/>
                    <a:pt x="631500" y="7508083"/>
                    <a:pt x="611973" y="7516304"/>
                  </a:cubicBezTo>
                  <a:lnTo>
                    <a:pt x="564501" y="7548238"/>
                  </a:lnTo>
                  <a:lnTo>
                    <a:pt x="518632" y="7453019"/>
                  </a:lnTo>
                  <a:lnTo>
                    <a:pt x="526119" y="7446844"/>
                  </a:lnTo>
                  <a:cubicBezTo>
                    <a:pt x="568403" y="7418293"/>
                    <a:pt x="619397" y="7401633"/>
                    <a:pt x="674333" y="7401633"/>
                  </a:cubicBezTo>
                  <a:close/>
                  <a:moveTo>
                    <a:pt x="8148089" y="7094869"/>
                  </a:moveTo>
                  <a:lnTo>
                    <a:pt x="8148089" y="7097179"/>
                  </a:lnTo>
                  <a:lnTo>
                    <a:pt x="8146686" y="7097179"/>
                  </a:lnTo>
                  <a:close/>
                  <a:moveTo>
                    <a:pt x="8665281" y="6791449"/>
                  </a:moveTo>
                  <a:lnTo>
                    <a:pt x="9176104" y="6791449"/>
                  </a:lnTo>
                  <a:lnTo>
                    <a:pt x="9176104" y="6893357"/>
                  </a:lnTo>
                  <a:lnTo>
                    <a:pt x="8665281" y="6893357"/>
                  </a:lnTo>
                  <a:close/>
                  <a:moveTo>
                    <a:pt x="2066681" y="6791449"/>
                  </a:moveTo>
                  <a:lnTo>
                    <a:pt x="2098040" y="6791449"/>
                  </a:lnTo>
                  <a:lnTo>
                    <a:pt x="2133958" y="6866010"/>
                  </a:lnTo>
                  <a:lnTo>
                    <a:pt x="2150572" y="6893357"/>
                  </a:lnTo>
                  <a:lnTo>
                    <a:pt x="2066681" y="6893357"/>
                  </a:lnTo>
                  <a:close/>
                  <a:moveTo>
                    <a:pt x="419562" y="6791449"/>
                  </a:moveTo>
                  <a:lnTo>
                    <a:pt x="930385" y="6791449"/>
                  </a:lnTo>
                  <a:lnTo>
                    <a:pt x="930385" y="6893357"/>
                  </a:lnTo>
                  <a:lnTo>
                    <a:pt x="419562" y="6893357"/>
                  </a:lnTo>
                  <a:close/>
                  <a:moveTo>
                    <a:pt x="9745526" y="6679349"/>
                  </a:moveTo>
                  <a:cubicBezTo>
                    <a:pt x="9655081" y="6679349"/>
                    <a:pt x="9582469" y="6751961"/>
                    <a:pt x="9582469" y="6842405"/>
                  </a:cubicBezTo>
                  <a:cubicBezTo>
                    <a:pt x="9582469" y="6932849"/>
                    <a:pt x="9655081" y="7005461"/>
                    <a:pt x="9745526" y="7005461"/>
                  </a:cubicBezTo>
                  <a:cubicBezTo>
                    <a:pt x="9835970" y="7005461"/>
                    <a:pt x="9908582" y="6932849"/>
                    <a:pt x="9908582" y="6842405"/>
                  </a:cubicBezTo>
                  <a:cubicBezTo>
                    <a:pt x="9908582" y="6751961"/>
                    <a:pt x="9835970" y="6679349"/>
                    <a:pt x="9745526" y="6679349"/>
                  </a:cubicBezTo>
                  <a:close/>
                  <a:moveTo>
                    <a:pt x="1498533" y="6679349"/>
                  </a:moveTo>
                  <a:cubicBezTo>
                    <a:pt x="1408088" y="6679349"/>
                    <a:pt x="1335477" y="6751961"/>
                    <a:pt x="1335477" y="6842405"/>
                  </a:cubicBezTo>
                  <a:cubicBezTo>
                    <a:pt x="1335477" y="6932849"/>
                    <a:pt x="1408088" y="7005461"/>
                    <a:pt x="1498533" y="7005461"/>
                  </a:cubicBezTo>
                  <a:cubicBezTo>
                    <a:pt x="1588977" y="7005461"/>
                    <a:pt x="1661588" y="6932849"/>
                    <a:pt x="1661588" y="6842405"/>
                  </a:cubicBezTo>
                  <a:cubicBezTo>
                    <a:pt x="1661588" y="6751961"/>
                    <a:pt x="1588977" y="6679349"/>
                    <a:pt x="1498533" y="6679349"/>
                  </a:cubicBezTo>
                  <a:close/>
                  <a:moveTo>
                    <a:pt x="9744252" y="6577439"/>
                  </a:moveTo>
                  <a:cubicBezTo>
                    <a:pt x="9890747" y="6577439"/>
                    <a:pt x="10009217" y="6695909"/>
                    <a:pt x="10009217" y="6842405"/>
                  </a:cubicBezTo>
                  <a:cubicBezTo>
                    <a:pt x="10009217" y="6988901"/>
                    <a:pt x="9890747" y="7107369"/>
                    <a:pt x="9744252" y="7107369"/>
                  </a:cubicBezTo>
                  <a:cubicBezTo>
                    <a:pt x="9597757" y="7107369"/>
                    <a:pt x="9479286" y="6988901"/>
                    <a:pt x="9479286" y="6842405"/>
                  </a:cubicBezTo>
                  <a:cubicBezTo>
                    <a:pt x="9479286" y="6695909"/>
                    <a:pt x="9597757" y="6577439"/>
                    <a:pt x="9744252" y="6577439"/>
                  </a:cubicBezTo>
                  <a:close/>
                  <a:moveTo>
                    <a:pt x="1499807" y="6577439"/>
                  </a:moveTo>
                  <a:cubicBezTo>
                    <a:pt x="1646302" y="6577439"/>
                    <a:pt x="1764771" y="6695909"/>
                    <a:pt x="1764771" y="6842405"/>
                  </a:cubicBezTo>
                  <a:cubicBezTo>
                    <a:pt x="1764771" y="6988901"/>
                    <a:pt x="1646302" y="7107369"/>
                    <a:pt x="1499807" y="7107369"/>
                  </a:cubicBezTo>
                  <a:cubicBezTo>
                    <a:pt x="1353311" y="7107369"/>
                    <a:pt x="1234841" y="6988901"/>
                    <a:pt x="1234841" y="6842405"/>
                  </a:cubicBezTo>
                  <a:cubicBezTo>
                    <a:pt x="1234841" y="6695909"/>
                    <a:pt x="1353311" y="6577439"/>
                    <a:pt x="1499807" y="6577439"/>
                  </a:cubicBezTo>
                  <a:close/>
                  <a:moveTo>
                    <a:pt x="8921331" y="5855153"/>
                  </a:moveTo>
                  <a:cubicBezTo>
                    <a:pt x="8830884" y="5855153"/>
                    <a:pt x="8758274" y="5927763"/>
                    <a:pt x="8758274" y="6018209"/>
                  </a:cubicBezTo>
                  <a:cubicBezTo>
                    <a:pt x="8758274" y="6108653"/>
                    <a:pt x="8830884" y="6181265"/>
                    <a:pt x="8921331" y="6181265"/>
                  </a:cubicBezTo>
                  <a:cubicBezTo>
                    <a:pt x="9011775" y="6181265"/>
                    <a:pt x="9084385" y="6108653"/>
                    <a:pt x="9084385" y="6018209"/>
                  </a:cubicBezTo>
                  <a:cubicBezTo>
                    <a:pt x="9084385" y="5927763"/>
                    <a:pt x="9011775" y="5855153"/>
                    <a:pt x="8921331" y="5855153"/>
                  </a:cubicBezTo>
                  <a:close/>
                  <a:moveTo>
                    <a:pt x="674337" y="5855153"/>
                  </a:moveTo>
                  <a:cubicBezTo>
                    <a:pt x="583892" y="5855153"/>
                    <a:pt x="511282" y="5927763"/>
                    <a:pt x="511282" y="6018209"/>
                  </a:cubicBezTo>
                  <a:cubicBezTo>
                    <a:pt x="511282" y="6108653"/>
                    <a:pt x="583892" y="6181265"/>
                    <a:pt x="674337" y="6181265"/>
                  </a:cubicBezTo>
                  <a:cubicBezTo>
                    <a:pt x="764782" y="6181265"/>
                    <a:pt x="837393" y="6108653"/>
                    <a:pt x="837393" y="6018209"/>
                  </a:cubicBezTo>
                  <a:cubicBezTo>
                    <a:pt x="837393" y="5927763"/>
                    <a:pt x="764782" y="5855153"/>
                    <a:pt x="674337" y="5855153"/>
                  </a:cubicBezTo>
                  <a:close/>
                  <a:moveTo>
                    <a:pt x="10375356" y="5854333"/>
                  </a:moveTo>
                  <a:lnTo>
                    <a:pt x="10334572" y="6121561"/>
                  </a:lnTo>
                  <a:lnTo>
                    <a:pt x="10334472" y="6121413"/>
                  </a:lnTo>
                  <a:cubicBezTo>
                    <a:pt x="10321077" y="6089706"/>
                    <a:pt x="10313672" y="6054833"/>
                    <a:pt x="10313672" y="6018209"/>
                  </a:cubicBezTo>
                  <a:cubicBezTo>
                    <a:pt x="10313672" y="5981585"/>
                    <a:pt x="10321077" y="5946713"/>
                    <a:pt x="10334472" y="5915005"/>
                  </a:cubicBezTo>
                  <a:close/>
                  <a:moveTo>
                    <a:pt x="9694571" y="5763433"/>
                  </a:moveTo>
                  <a:lnTo>
                    <a:pt x="9796481" y="5763433"/>
                  </a:lnTo>
                  <a:lnTo>
                    <a:pt x="9796481" y="6274257"/>
                  </a:lnTo>
                  <a:lnTo>
                    <a:pt x="9694571" y="6274257"/>
                  </a:lnTo>
                  <a:close/>
                  <a:moveTo>
                    <a:pt x="1447575" y="5763433"/>
                  </a:moveTo>
                  <a:lnTo>
                    <a:pt x="1549485" y="5763433"/>
                  </a:lnTo>
                  <a:lnTo>
                    <a:pt x="1549485" y="6274257"/>
                  </a:lnTo>
                  <a:lnTo>
                    <a:pt x="1447575" y="6274257"/>
                  </a:lnTo>
                  <a:close/>
                  <a:moveTo>
                    <a:pt x="8922604" y="5753243"/>
                  </a:moveTo>
                  <a:cubicBezTo>
                    <a:pt x="9069099" y="5753243"/>
                    <a:pt x="9187569" y="5871713"/>
                    <a:pt x="9187569" y="6018209"/>
                  </a:cubicBezTo>
                  <a:cubicBezTo>
                    <a:pt x="9187569" y="6164705"/>
                    <a:pt x="9069099" y="6283173"/>
                    <a:pt x="8922604" y="6283173"/>
                  </a:cubicBezTo>
                  <a:cubicBezTo>
                    <a:pt x="8776109" y="6283173"/>
                    <a:pt x="8657638" y="6164705"/>
                    <a:pt x="8657638" y="6018209"/>
                  </a:cubicBezTo>
                  <a:cubicBezTo>
                    <a:pt x="8657638" y="5871713"/>
                    <a:pt x="8776109" y="5753243"/>
                    <a:pt x="8922604" y="5753243"/>
                  </a:cubicBezTo>
                  <a:close/>
                  <a:moveTo>
                    <a:pt x="675610" y="5753243"/>
                  </a:moveTo>
                  <a:cubicBezTo>
                    <a:pt x="822108" y="5753243"/>
                    <a:pt x="940577" y="5871713"/>
                    <a:pt x="940577" y="6018209"/>
                  </a:cubicBezTo>
                  <a:cubicBezTo>
                    <a:pt x="940577" y="6164705"/>
                    <a:pt x="822108" y="6283173"/>
                    <a:pt x="675610" y="6283173"/>
                  </a:cubicBezTo>
                  <a:cubicBezTo>
                    <a:pt x="529116" y="6283173"/>
                    <a:pt x="410646" y="6164705"/>
                    <a:pt x="410646" y="6018209"/>
                  </a:cubicBezTo>
                  <a:cubicBezTo>
                    <a:pt x="410646" y="5871713"/>
                    <a:pt x="529116" y="5753243"/>
                    <a:pt x="675610" y="5753243"/>
                  </a:cubicBezTo>
                  <a:close/>
                  <a:moveTo>
                    <a:pt x="9489477" y="5143057"/>
                  </a:moveTo>
                  <a:lnTo>
                    <a:pt x="10000300" y="5143057"/>
                  </a:lnTo>
                  <a:lnTo>
                    <a:pt x="10000300" y="5244969"/>
                  </a:lnTo>
                  <a:lnTo>
                    <a:pt x="9489477" y="5244969"/>
                  </a:lnTo>
                  <a:close/>
                  <a:moveTo>
                    <a:pt x="8706634" y="5143057"/>
                  </a:moveTo>
                  <a:lnTo>
                    <a:pt x="9176104" y="5143057"/>
                  </a:lnTo>
                  <a:lnTo>
                    <a:pt x="9176104" y="5244969"/>
                  </a:lnTo>
                  <a:lnTo>
                    <a:pt x="8707060" y="5244969"/>
                  </a:lnTo>
                  <a:lnTo>
                    <a:pt x="8709420" y="5198237"/>
                  </a:lnTo>
                  <a:close/>
                  <a:moveTo>
                    <a:pt x="1242485" y="5143057"/>
                  </a:moveTo>
                  <a:lnTo>
                    <a:pt x="1714449" y="5143057"/>
                  </a:lnTo>
                  <a:lnTo>
                    <a:pt x="1711662" y="5198237"/>
                  </a:lnTo>
                  <a:lnTo>
                    <a:pt x="1714022" y="5244969"/>
                  </a:lnTo>
                  <a:lnTo>
                    <a:pt x="1242485" y="5244969"/>
                  </a:lnTo>
                  <a:close/>
                  <a:moveTo>
                    <a:pt x="2787" y="5143057"/>
                  </a:moveTo>
                  <a:lnTo>
                    <a:pt x="97302" y="5143057"/>
                  </a:lnTo>
                  <a:lnTo>
                    <a:pt x="97302" y="5244969"/>
                  </a:lnTo>
                  <a:lnTo>
                    <a:pt x="2360" y="5244969"/>
                  </a:lnTo>
                  <a:lnTo>
                    <a:pt x="0" y="5198237"/>
                  </a:lnTo>
                  <a:close/>
                  <a:moveTo>
                    <a:pt x="623389" y="4939239"/>
                  </a:moveTo>
                  <a:lnTo>
                    <a:pt x="725299" y="4939239"/>
                  </a:lnTo>
                  <a:lnTo>
                    <a:pt x="725299" y="5450061"/>
                  </a:lnTo>
                  <a:lnTo>
                    <a:pt x="623389" y="5450061"/>
                  </a:lnTo>
                  <a:close/>
                  <a:moveTo>
                    <a:pt x="86723" y="4273524"/>
                  </a:moveTo>
                  <a:lnTo>
                    <a:pt x="106218" y="4371093"/>
                  </a:lnTo>
                  <a:cubicBezTo>
                    <a:pt x="106218" y="4407717"/>
                    <a:pt x="98813" y="4442589"/>
                    <a:pt x="85418" y="4474296"/>
                  </a:cubicBezTo>
                  <a:lnTo>
                    <a:pt x="47492" y="4530579"/>
                  </a:lnTo>
                  <a:close/>
                  <a:moveTo>
                    <a:pt x="9745526" y="4208037"/>
                  </a:moveTo>
                  <a:cubicBezTo>
                    <a:pt x="9655081" y="4208037"/>
                    <a:pt x="9582469" y="4280647"/>
                    <a:pt x="9582469" y="4371093"/>
                  </a:cubicBezTo>
                  <a:cubicBezTo>
                    <a:pt x="9582469" y="4461537"/>
                    <a:pt x="9655081" y="4534147"/>
                    <a:pt x="9745526" y="4534147"/>
                  </a:cubicBezTo>
                  <a:cubicBezTo>
                    <a:pt x="9835970" y="4534147"/>
                    <a:pt x="9908582" y="4461537"/>
                    <a:pt x="9908582" y="4371093"/>
                  </a:cubicBezTo>
                  <a:cubicBezTo>
                    <a:pt x="9908582" y="4280647"/>
                    <a:pt x="9835970" y="4208037"/>
                    <a:pt x="9745526" y="4208037"/>
                  </a:cubicBezTo>
                  <a:close/>
                  <a:moveTo>
                    <a:pt x="1498539" y="4208037"/>
                  </a:moveTo>
                  <a:cubicBezTo>
                    <a:pt x="1408093" y="4208037"/>
                    <a:pt x="1335482" y="4280647"/>
                    <a:pt x="1335482" y="4371093"/>
                  </a:cubicBezTo>
                  <a:cubicBezTo>
                    <a:pt x="1335482" y="4461537"/>
                    <a:pt x="1408093" y="4534147"/>
                    <a:pt x="1498539" y="4534147"/>
                  </a:cubicBezTo>
                  <a:cubicBezTo>
                    <a:pt x="1588983" y="4534147"/>
                    <a:pt x="1661593" y="4461537"/>
                    <a:pt x="1661593" y="4371093"/>
                  </a:cubicBezTo>
                  <a:cubicBezTo>
                    <a:pt x="1661593" y="4280647"/>
                    <a:pt x="1588983" y="4208037"/>
                    <a:pt x="1498539" y="4208037"/>
                  </a:cubicBezTo>
                  <a:close/>
                  <a:moveTo>
                    <a:pt x="8870376" y="4115043"/>
                  </a:moveTo>
                  <a:lnTo>
                    <a:pt x="8972285" y="4115043"/>
                  </a:lnTo>
                  <a:lnTo>
                    <a:pt x="8972285" y="4625865"/>
                  </a:lnTo>
                  <a:lnTo>
                    <a:pt x="8870376" y="4625865"/>
                  </a:lnTo>
                  <a:close/>
                  <a:moveTo>
                    <a:pt x="623387" y="4115043"/>
                  </a:moveTo>
                  <a:lnTo>
                    <a:pt x="725297" y="4115043"/>
                  </a:lnTo>
                  <a:lnTo>
                    <a:pt x="725297" y="4625865"/>
                  </a:lnTo>
                  <a:lnTo>
                    <a:pt x="623387" y="4625865"/>
                  </a:lnTo>
                  <a:close/>
                  <a:moveTo>
                    <a:pt x="9744252" y="4106125"/>
                  </a:moveTo>
                  <a:cubicBezTo>
                    <a:pt x="9890747" y="4106125"/>
                    <a:pt x="10009217" y="4224597"/>
                    <a:pt x="10009217" y="4371093"/>
                  </a:cubicBezTo>
                  <a:cubicBezTo>
                    <a:pt x="10009217" y="4517587"/>
                    <a:pt x="9890747" y="4636057"/>
                    <a:pt x="9744252" y="4636057"/>
                  </a:cubicBezTo>
                  <a:cubicBezTo>
                    <a:pt x="9597757" y="4636057"/>
                    <a:pt x="9479286" y="4517587"/>
                    <a:pt x="9479286" y="4371093"/>
                  </a:cubicBezTo>
                  <a:cubicBezTo>
                    <a:pt x="9479286" y="4224597"/>
                    <a:pt x="9597757" y="4106125"/>
                    <a:pt x="9744252" y="4106125"/>
                  </a:cubicBezTo>
                  <a:close/>
                  <a:moveTo>
                    <a:pt x="1499812" y="4106125"/>
                  </a:moveTo>
                  <a:cubicBezTo>
                    <a:pt x="1646307" y="4106125"/>
                    <a:pt x="1764778" y="4224597"/>
                    <a:pt x="1764778" y="4371093"/>
                  </a:cubicBezTo>
                  <a:cubicBezTo>
                    <a:pt x="1764778" y="4517587"/>
                    <a:pt x="1646307" y="4636057"/>
                    <a:pt x="1499812" y="4636057"/>
                  </a:cubicBezTo>
                  <a:cubicBezTo>
                    <a:pt x="1353316" y="4634783"/>
                    <a:pt x="1234846" y="4517587"/>
                    <a:pt x="1234846" y="4371093"/>
                  </a:cubicBezTo>
                  <a:cubicBezTo>
                    <a:pt x="1234846" y="4224597"/>
                    <a:pt x="1353316" y="4106125"/>
                    <a:pt x="1499812" y="4106125"/>
                  </a:cubicBezTo>
                  <a:close/>
                  <a:moveTo>
                    <a:pt x="9489477" y="3495941"/>
                  </a:moveTo>
                  <a:lnTo>
                    <a:pt x="10000300" y="3495941"/>
                  </a:lnTo>
                  <a:lnTo>
                    <a:pt x="10000300" y="3597851"/>
                  </a:lnTo>
                  <a:lnTo>
                    <a:pt x="9489477" y="3597851"/>
                  </a:lnTo>
                  <a:close/>
                  <a:moveTo>
                    <a:pt x="2066685" y="3495941"/>
                  </a:moveTo>
                  <a:lnTo>
                    <a:pt x="2154931" y="3495941"/>
                  </a:lnTo>
                  <a:lnTo>
                    <a:pt x="2133958" y="3530464"/>
                  </a:lnTo>
                  <a:lnTo>
                    <a:pt x="2101496" y="3597851"/>
                  </a:lnTo>
                  <a:lnTo>
                    <a:pt x="2066685" y="3597851"/>
                  </a:lnTo>
                  <a:close/>
                  <a:moveTo>
                    <a:pt x="674343" y="3383841"/>
                  </a:moveTo>
                  <a:cubicBezTo>
                    <a:pt x="583899" y="3383841"/>
                    <a:pt x="511289" y="3456451"/>
                    <a:pt x="511289" y="3546897"/>
                  </a:cubicBezTo>
                  <a:cubicBezTo>
                    <a:pt x="511289" y="3637341"/>
                    <a:pt x="583899" y="3709953"/>
                    <a:pt x="674343" y="3709953"/>
                  </a:cubicBezTo>
                  <a:cubicBezTo>
                    <a:pt x="764789" y="3709953"/>
                    <a:pt x="837399" y="3637341"/>
                    <a:pt x="837399" y="3546897"/>
                  </a:cubicBezTo>
                  <a:cubicBezTo>
                    <a:pt x="837399" y="3456451"/>
                    <a:pt x="764789" y="3383841"/>
                    <a:pt x="674343" y="3383841"/>
                  </a:cubicBezTo>
                  <a:close/>
                  <a:moveTo>
                    <a:pt x="8870376" y="3292121"/>
                  </a:moveTo>
                  <a:lnTo>
                    <a:pt x="8972285" y="3292121"/>
                  </a:lnTo>
                  <a:lnTo>
                    <a:pt x="8972285" y="3802945"/>
                  </a:lnTo>
                  <a:lnTo>
                    <a:pt x="8870376" y="3802945"/>
                  </a:lnTo>
                  <a:close/>
                  <a:moveTo>
                    <a:pt x="8142327" y="3292121"/>
                  </a:moveTo>
                  <a:lnTo>
                    <a:pt x="8148089" y="3292121"/>
                  </a:lnTo>
                  <a:lnTo>
                    <a:pt x="8148089" y="3301606"/>
                  </a:lnTo>
                  <a:close/>
                  <a:moveTo>
                    <a:pt x="1447583" y="3292121"/>
                  </a:moveTo>
                  <a:lnTo>
                    <a:pt x="1549493" y="3292121"/>
                  </a:lnTo>
                  <a:lnTo>
                    <a:pt x="1549493" y="3802945"/>
                  </a:lnTo>
                  <a:lnTo>
                    <a:pt x="1447583" y="3802945"/>
                  </a:lnTo>
                  <a:close/>
                  <a:moveTo>
                    <a:pt x="675617" y="3281931"/>
                  </a:moveTo>
                  <a:cubicBezTo>
                    <a:pt x="822113" y="3281931"/>
                    <a:pt x="940583" y="3400401"/>
                    <a:pt x="940583" y="3546897"/>
                  </a:cubicBezTo>
                  <a:cubicBezTo>
                    <a:pt x="940583" y="3693393"/>
                    <a:pt x="822113" y="3811861"/>
                    <a:pt x="675617" y="3811861"/>
                  </a:cubicBezTo>
                  <a:cubicBezTo>
                    <a:pt x="529123" y="3811861"/>
                    <a:pt x="410652" y="3693393"/>
                    <a:pt x="410652" y="3546897"/>
                  </a:cubicBezTo>
                  <a:cubicBezTo>
                    <a:pt x="410652" y="3400401"/>
                    <a:pt x="529123" y="3281931"/>
                    <a:pt x="675617" y="3281931"/>
                  </a:cubicBezTo>
                  <a:close/>
                  <a:moveTo>
                    <a:pt x="1242482" y="2671745"/>
                  </a:moveTo>
                  <a:lnTo>
                    <a:pt x="1753305" y="2671745"/>
                  </a:lnTo>
                  <a:lnTo>
                    <a:pt x="1753305" y="2773657"/>
                  </a:lnTo>
                  <a:lnTo>
                    <a:pt x="1242482" y="2773657"/>
                  </a:lnTo>
                  <a:close/>
                  <a:moveTo>
                    <a:pt x="8921331" y="2560919"/>
                  </a:moveTo>
                  <a:cubicBezTo>
                    <a:pt x="8832160" y="2560919"/>
                    <a:pt x="8758275" y="2633529"/>
                    <a:pt x="8758275" y="2723975"/>
                  </a:cubicBezTo>
                  <a:cubicBezTo>
                    <a:pt x="8758275" y="2814419"/>
                    <a:pt x="8830885" y="2887029"/>
                    <a:pt x="8921331" y="2887029"/>
                  </a:cubicBezTo>
                  <a:cubicBezTo>
                    <a:pt x="9011776" y="2887029"/>
                    <a:pt x="9084386" y="2814419"/>
                    <a:pt x="9084386" y="2723975"/>
                  </a:cubicBezTo>
                  <a:cubicBezTo>
                    <a:pt x="9084386" y="2633529"/>
                    <a:pt x="9011776" y="2560919"/>
                    <a:pt x="8921331" y="2560919"/>
                  </a:cubicBezTo>
                  <a:close/>
                  <a:moveTo>
                    <a:pt x="2322726" y="2560919"/>
                  </a:moveTo>
                  <a:cubicBezTo>
                    <a:pt x="2232282" y="2560919"/>
                    <a:pt x="2159671" y="2633529"/>
                    <a:pt x="2159671" y="2723975"/>
                  </a:cubicBezTo>
                  <a:cubicBezTo>
                    <a:pt x="2159671" y="2814419"/>
                    <a:pt x="2232282" y="2887029"/>
                    <a:pt x="2322726" y="2887029"/>
                  </a:cubicBezTo>
                  <a:cubicBezTo>
                    <a:pt x="2411897" y="2885757"/>
                    <a:pt x="2485782" y="2813145"/>
                    <a:pt x="2485782" y="2723975"/>
                  </a:cubicBezTo>
                  <a:cubicBezTo>
                    <a:pt x="2485782" y="2633529"/>
                    <a:pt x="2413173" y="2560919"/>
                    <a:pt x="2322726" y="2560919"/>
                  </a:cubicBezTo>
                  <a:close/>
                  <a:moveTo>
                    <a:pt x="9694571" y="2553886"/>
                  </a:moveTo>
                  <a:lnTo>
                    <a:pt x="9792198" y="2714584"/>
                  </a:lnTo>
                  <a:lnTo>
                    <a:pt x="9796481" y="2723476"/>
                  </a:lnTo>
                  <a:lnTo>
                    <a:pt x="9796481" y="2978749"/>
                  </a:lnTo>
                  <a:lnTo>
                    <a:pt x="9694571" y="2978749"/>
                  </a:lnTo>
                  <a:close/>
                  <a:moveTo>
                    <a:pt x="772671" y="2477905"/>
                  </a:moveTo>
                  <a:lnTo>
                    <a:pt x="778813" y="2479809"/>
                  </a:lnTo>
                  <a:cubicBezTo>
                    <a:pt x="873936" y="2519996"/>
                    <a:pt x="940575" y="2614103"/>
                    <a:pt x="940575" y="2723975"/>
                  </a:cubicBezTo>
                  <a:cubicBezTo>
                    <a:pt x="940575" y="2870469"/>
                    <a:pt x="822106" y="2988941"/>
                    <a:pt x="675608" y="2988941"/>
                  </a:cubicBezTo>
                  <a:cubicBezTo>
                    <a:pt x="620673" y="2988463"/>
                    <a:pt x="569678" y="2971504"/>
                    <a:pt x="527394" y="2942835"/>
                  </a:cubicBezTo>
                  <a:lnTo>
                    <a:pt x="521341" y="2937832"/>
                  </a:lnTo>
                  <a:lnTo>
                    <a:pt x="566336" y="2844427"/>
                  </a:lnTo>
                  <a:lnTo>
                    <a:pt x="610701" y="2874271"/>
                  </a:lnTo>
                  <a:cubicBezTo>
                    <a:pt x="630227" y="2882491"/>
                    <a:pt x="651723" y="2887029"/>
                    <a:pt x="674334" y="2887029"/>
                  </a:cubicBezTo>
                  <a:cubicBezTo>
                    <a:pt x="764780" y="2885757"/>
                    <a:pt x="837390" y="2813145"/>
                    <a:pt x="837390" y="2723975"/>
                  </a:cubicBezTo>
                  <a:cubicBezTo>
                    <a:pt x="837390" y="2656141"/>
                    <a:pt x="796547" y="2598339"/>
                    <a:pt x="737968" y="2573678"/>
                  </a:cubicBezTo>
                  <a:lnTo>
                    <a:pt x="717037" y="2569481"/>
                  </a:lnTo>
                  <a:close/>
                  <a:moveTo>
                    <a:pt x="8046180" y="2467925"/>
                  </a:moveTo>
                  <a:lnTo>
                    <a:pt x="8148089" y="2467925"/>
                  </a:lnTo>
                  <a:lnTo>
                    <a:pt x="8148089" y="2978749"/>
                  </a:lnTo>
                  <a:lnTo>
                    <a:pt x="8046180" y="2978749"/>
                  </a:lnTo>
                  <a:close/>
                  <a:moveTo>
                    <a:pt x="8921331" y="2459009"/>
                  </a:moveTo>
                  <a:cubicBezTo>
                    <a:pt x="9067826" y="2459009"/>
                    <a:pt x="9186296" y="2577479"/>
                    <a:pt x="9186296" y="2723975"/>
                  </a:cubicBezTo>
                  <a:cubicBezTo>
                    <a:pt x="9186296" y="2870469"/>
                    <a:pt x="9067826" y="2988941"/>
                    <a:pt x="8921331" y="2988941"/>
                  </a:cubicBezTo>
                  <a:cubicBezTo>
                    <a:pt x="8774836" y="2988941"/>
                    <a:pt x="8656365" y="2870469"/>
                    <a:pt x="8656365" y="2723975"/>
                  </a:cubicBezTo>
                  <a:cubicBezTo>
                    <a:pt x="8656365" y="2577479"/>
                    <a:pt x="8774836" y="2459009"/>
                    <a:pt x="8921331" y="2459009"/>
                  </a:cubicBezTo>
                  <a:close/>
                  <a:moveTo>
                    <a:pt x="2322726" y="2459009"/>
                  </a:moveTo>
                  <a:cubicBezTo>
                    <a:pt x="2469222" y="2459009"/>
                    <a:pt x="2587692" y="2577479"/>
                    <a:pt x="2587692" y="2723975"/>
                  </a:cubicBezTo>
                  <a:cubicBezTo>
                    <a:pt x="2587692" y="2870469"/>
                    <a:pt x="2469222" y="2988941"/>
                    <a:pt x="2322726" y="2988941"/>
                  </a:cubicBezTo>
                  <a:cubicBezTo>
                    <a:pt x="2176232" y="2988941"/>
                    <a:pt x="2057761" y="2869197"/>
                    <a:pt x="2057761" y="2723975"/>
                  </a:cubicBezTo>
                  <a:cubicBezTo>
                    <a:pt x="2057761" y="2577479"/>
                    <a:pt x="2176232" y="2459009"/>
                    <a:pt x="2322726" y="2459009"/>
                  </a:cubicBezTo>
                  <a:close/>
                  <a:moveTo>
                    <a:pt x="7842360" y="1848825"/>
                  </a:moveTo>
                  <a:lnTo>
                    <a:pt x="8353182" y="1848825"/>
                  </a:lnTo>
                  <a:lnTo>
                    <a:pt x="8353182" y="1950733"/>
                  </a:lnTo>
                  <a:lnTo>
                    <a:pt x="7842360" y="1950733"/>
                  </a:lnTo>
                  <a:close/>
                  <a:moveTo>
                    <a:pt x="6223404" y="1848825"/>
                  </a:moveTo>
                  <a:lnTo>
                    <a:pt x="6704792" y="1848825"/>
                  </a:lnTo>
                  <a:lnTo>
                    <a:pt x="6704792" y="1950733"/>
                  </a:lnTo>
                  <a:lnTo>
                    <a:pt x="6512646" y="1950733"/>
                  </a:lnTo>
                  <a:lnTo>
                    <a:pt x="6413573" y="1911670"/>
                  </a:lnTo>
                  <a:cubicBezTo>
                    <a:pt x="6359984" y="1892049"/>
                    <a:pt x="6305781" y="1873700"/>
                    <a:pt x="6251001" y="1856662"/>
                  </a:cubicBezTo>
                  <a:close/>
                  <a:moveTo>
                    <a:pt x="2890884" y="1848825"/>
                  </a:moveTo>
                  <a:lnTo>
                    <a:pt x="3401707" y="1848825"/>
                  </a:lnTo>
                  <a:lnTo>
                    <a:pt x="3401707" y="1950733"/>
                  </a:lnTo>
                  <a:lnTo>
                    <a:pt x="2890884" y="1950733"/>
                  </a:lnTo>
                  <a:close/>
                  <a:moveTo>
                    <a:pt x="1242493" y="1848825"/>
                  </a:moveTo>
                  <a:lnTo>
                    <a:pt x="1753316" y="1848825"/>
                  </a:lnTo>
                  <a:lnTo>
                    <a:pt x="1753316" y="1950733"/>
                  </a:lnTo>
                  <a:lnTo>
                    <a:pt x="1242493" y="1950733"/>
                  </a:lnTo>
                  <a:close/>
                  <a:moveTo>
                    <a:pt x="8921331" y="1736725"/>
                  </a:moveTo>
                  <a:cubicBezTo>
                    <a:pt x="8832160" y="1736725"/>
                    <a:pt x="8758275" y="1809335"/>
                    <a:pt x="8758275" y="1899781"/>
                  </a:cubicBezTo>
                  <a:cubicBezTo>
                    <a:pt x="8758275" y="1990225"/>
                    <a:pt x="8830885" y="2062835"/>
                    <a:pt x="8921331" y="2062835"/>
                  </a:cubicBezTo>
                  <a:cubicBezTo>
                    <a:pt x="9011776" y="2062835"/>
                    <a:pt x="9084386" y="1990225"/>
                    <a:pt x="9084386" y="1899781"/>
                  </a:cubicBezTo>
                  <a:cubicBezTo>
                    <a:pt x="9084386" y="1809335"/>
                    <a:pt x="9011776" y="1736725"/>
                    <a:pt x="8921331" y="1736725"/>
                  </a:cubicBezTo>
                  <a:close/>
                  <a:moveTo>
                    <a:pt x="7223258" y="1643731"/>
                  </a:moveTo>
                  <a:lnTo>
                    <a:pt x="7325168" y="1643731"/>
                  </a:lnTo>
                  <a:lnTo>
                    <a:pt x="7325168" y="2154553"/>
                  </a:lnTo>
                  <a:lnTo>
                    <a:pt x="7223258" y="2154553"/>
                  </a:lnTo>
                  <a:close/>
                  <a:moveTo>
                    <a:pt x="2271782" y="1643731"/>
                  </a:moveTo>
                  <a:lnTo>
                    <a:pt x="2373691" y="1643731"/>
                  </a:lnTo>
                  <a:lnTo>
                    <a:pt x="2373691" y="2154553"/>
                  </a:lnTo>
                  <a:lnTo>
                    <a:pt x="2271782" y="2154553"/>
                  </a:lnTo>
                  <a:close/>
                  <a:moveTo>
                    <a:pt x="8921331" y="1634813"/>
                  </a:moveTo>
                  <a:cubicBezTo>
                    <a:pt x="8957955" y="1634813"/>
                    <a:pt x="8992827" y="1642218"/>
                    <a:pt x="9024534" y="1655614"/>
                  </a:cubicBezTo>
                  <a:lnTo>
                    <a:pt x="9036119" y="1661896"/>
                  </a:lnTo>
                  <a:lnTo>
                    <a:pt x="9067478" y="1694788"/>
                  </a:lnTo>
                  <a:lnTo>
                    <a:pt x="9168482" y="1811390"/>
                  </a:lnTo>
                  <a:lnTo>
                    <a:pt x="9186296" y="1899781"/>
                  </a:lnTo>
                  <a:cubicBezTo>
                    <a:pt x="9186296" y="2046275"/>
                    <a:pt x="9067826" y="2164745"/>
                    <a:pt x="8921331" y="2164745"/>
                  </a:cubicBezTo>
                  <a:cubicBezTo>
                    <a:pt x="8774836" y="2164745"/>
                    <a:pt x="8656365" y="2046275"/>
                    <a:pt x="8656365" y="1899781"/>
                  </a:cubicBezTo>
                  <a:cubicBezTo>
                    <a:pt x="8656365" y="1753285"/>
                    <a:pt x="8774836" y="1634813"/>
                    <a:pt x="8921331" y="1634813"/>
                  </a:cubicBezTo>
                  <a:close/>
                  <a:moveTo>
                    <a:pt x="3969851" y="1634813"/>
                  </a:moveTo>
                  <a:cubicBezTo>
                    <a:pt x="4079723" y="1634813"/>
                    <a:pt x="4173831" y="1701454"/>
                    <a:pt x="4214017" y="1796577"/>
                  </a:cubicBezTo>
                  <a:lnTo>
                    <a:pt x="4223093" y="1841608"/>
                  </a:lnTo>
                  <a:lnTo>
                    <a:pt x="4170081" y="1856662"/>
                  </a:lnTo>
                  <a:lnTo>
                    <a:pt x="4127174" y="1871180"/>
                  </a:lnTo>
                  <a:lnTo>
                    <a:pt x="4120150" y="1836147"/>
                  </a:lnTo>
                  <a:cubicBezTo>
                    <a:pt x="4095488" y="1777568"/>
                    <a:pt x="4037686" y="1736725"/>
                    <a:pt x="3969851" y="1736725"/>
                  </a:cubicBezTo>
                  <a:cubicBezTo>
                    <a:pt x="3880680" y="1736725"/>
                    <a:pt x="3806796" y="1809335"/>
                    <a:pt x="3806796" y="1899781"/>
                  </a:cubicBezTo>
                  <a:cubicBezTo>
                    <a:pt x="3806796" y="1922392"/>
                    <a:pt x="3811334" y="1943889"/>
                    <a:pt x="3819555" y="1963414"/>
                  </a:cubicBezTo>
                  <a:lnTo>
                    <a:pt x="3832208" y="1982224"/>
                  </a:lnTo>
                  <a:lnTo>
                    <a:pt x="3741230" y="2026051"/>
                  </a:lnTo>
                  <a:lnTo>
                    <a:pt x="3725686" y="2002984"/>
                  </a:lnTo>
                  <a:cubicBezTo>
                    <a:pt x="3712291" y="1971277"/>
                    <a:pt x="3704886" y="1936405"/>
                    <a:pt x="3704886" y="1899781"/>
                  </a:cubicBezTo>
                  <a:cubicBezTo>
                    <a:pt x="3704886" y="1753285"/>
                    <a:pt x="3823356" y="1634813"/>
                    <a:pt x="3969851" y="1634813"/>
                  </a:cubicBezTo>
                  <a:close/>
                  <a:moveTo>
                    <a:pt x="7842360" y="1024629"/>
                  </a:moveTo>
                  <a:lnTo>
                    <a:pt x="8330359" y="1024629"/>
                  </a:lnTo>
                  <a:lnTo>
                    <a:pt x="8353182" y="1042565"/>
                  </a:lnTo>
                  <a:lnTo>
                    <a:pt x="8353182" y="1126539"/>
                  </a:lnTo>
                  <a:lnTo>
                    <a:pt x="7842360" y="1126539"/>
                  </a:lnTo>
                  <a:close/>
                  <a:moveTo>
                    <a:pt x="5371048" y="1024629"/>
                  </a:moveTo>
                  <a:lnTo>
                    <a:pt x="5881870" y="1024629"/>
                  </a:lnTo>
                  <a:lnTo>
                    <a:pt x="5881870" y="1126539"/>
                  </a:lnTo>
                  <a:lnTo>
                    <a:pt x="5371048" y="1126539"/>
                  </a:lnTo>
                  <a:close/>
                  <a:moveTo>
                    <a:pt x="4538001" y="1024629"/>
                  </a:moveTo>
                  <a:lnTo>
                    <a:pt x="5048825" y="1024629"/>
                  </a:lnTo>
                  <a:lnTo>
                    <a:pt x="5048825" y="1126539"/>
                  </a:lnTo>
                  <a:lnTo>
                    <a:pt x="4538001" y="1126539"/>
                  </a:lnTo>
                  <a:close/>
                  <a:moveTo>
                    <a:pt x="2890886" y="1024629"/>
                  </a:moveTo>
                  <a:lnTo>
                    <a:pt x="3401709" y="1024629"/>
                  </a:lnTo>
                  <a:lnTo>
                    <a:pt x="3401709" y="1126539"/>
                  </a:lnTo>
                  <a:lnTo>
                    <a:pt x="2890886" y="1126539"/>
                  </a:lnTo>
                  <a:close/>
                  <a:moveTo>
                    <a:pt x="6450017" y="912529"/>
                  </a:moveTo>
                  <a:cubicBezTo>
                    <a:pt x="6359572" y="912529"/>
                    <a:pt x="6286962" y="985139"/>
                    <a:pt x="6286962" y="1075585"/>
                  </a:cubicBezTo>
                  <a:cubicBezTo>
                    <a:pt x="6286962" y="1166029"/>
                    <a:pt x="6359572" y="1238639"/>
                    <a:pt x="6450017" y="1238639"/>
                  </a:cubicBezTo>
                  <a:cubicBezTo>
                    <a:pt x="6540463" y="1238639"/>
                    <a:pt x="6613073" y="1166029"/>
                    <a:pt x="6613073" y="1075585"/>
                  </a:cubicBezTo>
                  <a:cubicBezTo>
                    <a:pt x="6613073" y="985139"/>
                    <a:pt x="6540463" y="912529"/>
                    <a:pt x="6450017" y="912529"/>
                  </a:cubicBezTo>
                  <a:close/>
                  <a:moveTo>
                    <a:pt x="2373692" y="828587"/>
                  </a:moveTo>
                  <a:lnTo>
                    <a:pt x="2373692" y="1331633"/>
                  </a:lnTo>
                  <a:lnTo>
                    <a:pt x="2271782" y="1331633"/>
                  </a:lnTo>
                  <a:lnTo>
                    <a:pt x="2271782" y="895706"/>
                  </a:lnTo>
                  <a:lnTo>
                    <a:pt x="2297278" y="877575"/>
                  </a:lnTo>
                  <a:close/>
                  <a:moveTo>
                    <a:pt x="7223258" y="820809"/>
                  </a:moveTo>
                  <a:lnTo>
                    <a:pt x="7325168" y="820809"/>
                  </a:lnTo>
                  <a:lnTo>
                    <a:pt x="7325168" y="1331633"/>
                  </a:lnTo>
                  <a:lnTo>
                    <a:pt x="7223258" y="1331633"/>
                  </a:lnTo>
                  <a:close/>
                  <a:moveTo>
                    <a:pt x="3918899" y="820809"/>
                  </a:moveTo>
                  <a:lnTo>
                    <a:pt x="4020808" y="820809"/>
                  </a:lnTo>
                  <a:lnTo>
                    <a:pt x="4020808" y="1331633"/>
                  </a:lnTo>
                  <a:lnTo>
                    <a:pt x="3918899" y="1331633"/>
                  </a:lnTo>
                  <a:close/>
                  <a:moveTo>
                    <a:pt x="6451292" y="810617"/>
                  </a:moveTo>
                  <a:cubicBezTo>
                    <a:pt x="6597788" y="810617"/>
                    <a:pt x="6716257" y="929089"/>
                    <a:pt x="6716257" y="1075585"/>
                  </a:cubicBezTo>
                  <a:cubicBezTo>
                    <a:pt x="6716257" y="1222079"/>
                    <a:pt x="6597788" y="1340549"/>
                    <a:pt x="6451292" y="1340549"/>
                  </a:cubicBezTo>
                  <a:cubicBezTo>
                    <a:pt x="6303522" y="1340549"/>
                    <a:pt x="6186326" y="1222079"/>
                    <a:pt x="6186326" y="1075585"/>
                  </a:cubicBezTo>
                  <a:cubicBezTo>
                    <a:pt x="6186326" y="929089"/>
                    <a:pt x="6304797" y="810617"/>
                    <a:pt x="6451292" y="810617"/>
                  </a:cubicBezTo>
                  <a:close/>
                  <a:moveTo>
                    <a:pt x="6399063" y="125503"/>
                  </a:moveTo>
                  <a:lnTo>
                    <a:pt x="6500973" y="149024"/>
                  </a:lnTo>
                  <a:lnTo>
                    <a:pt x="6500973" y="508711"/>
                  </a:lnTo>
                  <a:lnTo>
                    <a:pt x="6399063" y="508711"/>
                  </a:lnTo>
                  <a:close/>
                  <a:moveTo>
                    <a:pt x="4743094" y="101073"/>
                  </a:moveTo>
                  <a:lnTo>
                    <a:pt x="4845004" y="101073"/>
                  </a:lnTo>
                  <a:lnTo>
                    <a:pt x="4845004" y="508711"/>
                  </a:lnTo>
                  <a:lnTo>
                    <a:pt x="4743094" y="508711"/>
                  </a:lnTo>
                  <a:close/>
                  <a:moveTo>
                    <a:pt x="4174642" y="91020"/>
                  </a:moveTo>
                  <a:lnTo>
                    <a:pt x="4214021" y="149458"/>
                  </a:lnTo>
                  <a:cubicBezTo>
                    <a:pt x="4227416" y="181166"/>
                    <a:pt x="4234820" y="216038"/>
                    <a:pt x="4234820" y="252661"/>
                  </a:cubicBezTo>
                  <a:cubicBezTo>
                    <a:pt x="4234820" y="399157"/>
                    <a:pt x="4116350" y="517629"/>
                    <a:pt x="3969854" y="517629"/>
                  </a:cubicBezTo>
                  <a:cubicBezTo>
                    <a:pt x="3823359" y="517629"/>
                    <a:pt x="3704889" y="399157"/>
                    <a:pt x="3704889" y="252661"/>
                  </a:cubicBezTo>
                  <a:lnTo>
                    <a:pt x="3714113" y="206895"/>
                  </a:lnTo>
                  <a:lnTo>
                    <a:pt x="3829928" y="174007"/>
                  </a:lnTo>
                  <a:lnTo>
                    <a:pt x="3819737" y="189028"/>
                  </a:lnTo>
                  <a:cubicBezTo>
                    <a:pt x="3811417" y="208554"/>
                    <a:pt x="3806799" y="230050"/>
                    <a:pt x="3806799" y="252661"/>
                  </a:cubicBezTo>
                  <a:cubicBezTo>
                    <a:pt x="3806799" y="343107"/>
                    <a:pt x="3879410" y="415717"/>
                    <a:pt x="3969854" y="415717"/>
                  </a:cubicBezTo>
                  <a:cubicBezTo>
                    <a:pt x="4060300" y="415717"/>
                    <a:pt x="4132911" y="343107"/>
                    <a:pt x="4132911" y="252661"/>
                  </a:cubicBezTo>
                  <a:cubicBezTo>
                    <a:pt x="4132911" y="207439"/>
                    <a:pt x="4114759" y="166676"/>
                    <a:pt x="4085300" y="137218"/>
                  </a:cubicBezTo>
                  <a:lnTo>
                    <a:pt x="4056168" y="117622"/>
                  </a:lnTo>
                  <a:lnTo>
                    <a:pt x="4160436" y="93557"/>
                  </a:lnTo>
                  <a:close/>
                  <a:moveTo>
                    <a:pt x="5625822" y="89607"/>
                  </a:moveTo>
                  <a:cubicBezTo>
                    <a:pt x="5535377" y="89607"/>
                    <a:pt x="5462766" y="162217"/>
                    <a:pt x="5462766" y="252661"/>
                  </a:cubicBezTo>
                  <a:cubicBezTo>
                    <a:pt x="5462766" y="343107"/>
                    <a:pt x="5535377" y="415717"/>
                    <a:pt x="5625822" y="415717"/>
                  </a:cubicBezTo>
                  <a:cubicBezTo>
                    <a:pt x="5716267" y="414445"/>
                    <a:pt x="5788878" y="341833"/>
                    <a:pt x="5788878" y="252661"/>
                  </a:cubicBezTo>
                  <a:cubicBezTo>
                    <a:pt x="5788878" y="162217"/>
                    <a:pt x="5716267" y="89607"/>
                    <a:pt x="5625822" y="89607"/>
                  </a:cubicBezTo>
                  <a:close/>
                  <a:moveTo>
                    <a:pt x="5551305" y="0"/>
                  </a:moveTo>
                  <a:lnTo>
                    <a:pt x="5741268" y="14445"/>
                  </a:lnTo>
                  <a:lnTo>
                    <a:pt x="5775311" y="32907"/>
                  </a:lnTo>
                  <a:cubicBezTo>
                    <a:pt x="5845785" y="80491"/>
                    <a:pt x="5892062" y="161102"/>
                    <a:pt x="5892062" y="252661"/>
                  </a:cubicBezTo>
                  <a:cubicBezTo>
                    <a:pt x="5892062" y="399157"/>
                    <a:pt x="5773592" y="517629"/>
                    <a:pt x="5627096" y="517629"/>
                  </a:cubicBezTo>
                  <a:cubicBezTo>
                    <a:pt x="5480601" y="516353"/>
                    <a:pt x="5362131" y="397885"/>
                    <a:pt x="5362131" y="252661"/>
                  </a:cubicBezTo>
                  <a:cubicBezTo>
                    <a:pt x="5362131" y="142791"/>
                    <a:pt x="5428771" y="48684"/>
                    <a:pt x="5523893" y="8497"/>
                  </a:cubicBez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0"/>
                    <a:alpha val="15000"/>
                  </a:schemeClr>
                </a:gs>
                <a:gs pos="0">
                  <a:schemeClr val="accent1">
                    <a:lumMod val="50000"/>
                    <a:alpha val="0"/>
                  </a:schemeClr>
                </a:gs>
              </a:gsLst>
              <a:lin ang="18900000" scaled="0"/>
            </a:gradFill>
            <a:ln w="127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430">
              <a:extLst>
                <a:ext uri="{FF2B5EF4-FFF2-40B4-BE49-F238E27FC236}">
                  <a16:creationId xmlns:a16="http://schemas.microsoft.com/office/drawing/2014/main" id="{2ACD59CE-8D06-9A46-9820-FC23C1AA8942}"/>
                </a:ext>
              </a:extLst>
            </p:cNvPr>
            <p:cNvSpPr/>
            <p:nvPr userDrawn="1"/>
          </p:nvSpPr>
          <p:spPr>
            <a:xfrm>
              <a:off x="-5968729" y="-530765"/>
              <a:ext cx="10375356" cy="10394676"/>
            </a:xfrm>
            <a:custGeom>
              <a:avLst/>
              <a:gdLst>
                <a:gd name="connsiteX0" fmla="*/ 6202887 w 10375356"/>
                <a:gd name="connsiteY0" fmla="*/ 10086957 h 10394676"/>
                <a:gd name="connsiteX1" fmla="*/ 6713710 w 10375356"/>
                <a:gd name="connsiteY1" fmla="*/ 10086957 h 10394676"/>
                <a:gd name="connsiteX2" fmla="*/ 6713710 w 10375356"/>
                <a:gd name="connsiteY2" fmla="*/ 10187665 h 10394676"/>
                <a:gd name="connsiteX3" fmla="*/ 6709472 w 10375356"/>
                <a:gd name="connsiteY3" fmla="*/ 10188869 h 10394676"/>
                <a:gd name="connsiteX4" fmla="*/ 6202887 w 10375356"/>
                <a:gd name="connsiteY4" fmla="*/ 10188869 h 10394676"/>
                <a:gd name="connsiteX5" fmla="*/ 5634740 w 10375356"/>
                <a:gd name="connsiteY5" fmla="*/ 9974857 h 10394676"/>
                <a:gd name="connsiteX6" fmla="*/ 5471684 w 10375356"/>
                <a:gd name="connsiteY6" fmla="*/ 10137913 h 10394676"/>
                <a:gd name="connsiteX7" fmla="*/ 5634740 w 10375356"/>
                <a:gd name="connsiteY7" fmla="*/ 10300969 h 10394676"/>
                <a:gd name="connsiteX8" fmla="*/ 5797795 w 10375356"/>
                <a:gd name="connsiteY8" fmla="*/ 10137913 h 10394676"/>
                <a:gd name="connsiteX9" fmla="*/ 5634740 w 10375356"/>
                <a:gd name="connsiteY9" fmla="*/ 9974857 h 10394676"/>
                <a:gd name="connsiteX10" fmla="*/ 7232175 w 10375356"/>
                <a:gd name="connsiteY10" fmla="*/ 9881865 h 10394676"/>
                <a:gd name="connsiteX11" fmla="*/ 7334085 w 10375356"/>
                <a:gd name="connsiteY11" fmla="*/ 9881865 h 10394676"/>
                <a:gd name="connsiteX12" fmla="*/ 7334085 w 10375356"/>
                <a:gd name="connsiteY12" fmla="*/ 9956193 h 10394676"/>
                <a:gd name="connsiteX13" fmla="*/ 7238719 w 10375356"/>
                <a:gd name="connsiteY13" fmla="*/ 9999307 h 10394676"/>
                <a:gd name="connsiteX14" fmla="*/ 7232175 w 10375356"/>
                <a:gd name="connsiteY14" fmla="*/ 10001887 h 10394676"/>
                <a:gd name="connsiteX15" fmla="*/ 4751991 w 10375356"/>
                <a:gd name="connsiteY15" fmla="*/ 9881865 h 10394676"/>
                <a:gd name="connsiteX16" fmla="*/ 4853901 w 10375356"/>
                <a:gd name="connsiteY16" fmla="*/ 9881865 h 10394676"/>
                <a:gd name="connsiteX17" fmla="*/ 4853901 w 10375356"/>
                <a:gd name="connsiteY17" fmla="*/ 10290777 h 10394676"/>
                <a:gd name="connsiteX18" fmla="*/ 4751991 w 10375356"/>
                <a:gd name="connsiteY18" fmla="*/ 10290777 h 10394676"/>
                <a:gd name="connsiteX19" fmla="*/ 5636013 w 10375356"/>
                <a:gd name="connsiteY19" fmla="*/ 9872947 h 10394676"/>
                <a:gd name="connsiteX20" fmla="*/ 5900978 w 10375356"/>
                <a:gd name="connsiteY20" fmla="*/ 10137913 h 10394676"/>
                <a:gd name="connsiteX21" fmla="*/ 5739217 w 10375356"/>
                <a:gd name="connsiteY21" fmla="*/ 10382077 h 10394676"/>
                <a:gd name="connsiteX22" fmla="*/ 5738756 w 10375356"/>
                <a:gd name="connsiteY22" fmla="*/ 10382220 h 10394676"/>
                <a:gd name="connsiteX23" fmla="*/ 5574951 w 10375356"/>
                <a:gd name="connsiteY23" fmla="*/ 10394676 h 10394676"/>
                <a:gd name="connsiteX24" fmla="*/ 5532810 w 10375356"/>
                <a:gd name="connsiteY24" fmla="*/ 10381361 h 10394676"/>
                <a:gd name="connsiteX25" fmla="*/ 5371048 w 10375356"/>
                <a:gd name="connsiteY25" fmla="*/ 10137913 h 10394676"/>
                <a:gd name="connsiteX26" fmla="*/ 5636013 w 10375356"/>
                <a:gd name="connsiteY26" fmla="*/ 9872947 h 10394676"/>
                <a:gd name="connsiteX27" fmla="*/ 3978752 w 10375356"/>
                <a:gd name="connsiteY27" fmla="*/ 9872947 h 10394676"/>
                <a:gd name="connsiteX28" fmla="*/ 4243718 w 10375356"/>
                <a:gd name="connsiteY28" fmla="*/ 10137913 h 10394676"/>
                <a:gd name="connsiteX29" fmla="*/ 4222918 w 10375356"/>
                <a:gd name="connsiteY29" fmla="*/ 10241117 h 10394676"/>
                <a:gd name="connsiteX30" fmla="*/ 4179036 w 10375356"/>
                <a:gd name="connsiteY30" fmla="*/ 10306239 h 10394676"/>
                <a:gd name="connsiteX31" fmla="*/ 4160436 w 10375356"/>
                <a:gd name="connsiteY31" fmla="*/ 10302917 h 10394676"/>
                <a:gd name="connsiteX32" fmla="*/ 4056265 w 10375356"/>
                <a:gd name="connsiteY32" fmla="*/ 10278875 h 10394676"/>
                <a:gd name="connsiteX33" fmla="*/ 4094199 w 10375356"/>
                <a:gd name="connsiteY33" fmla="*/ 10253357 h 10394676"/>
                <a:gd name="connsiteX34" fmla="*/ 4141809 w 10375356"/>
                <a:gd name="connsiteY34" fmla="*/ 10137913 h 10394676"/>
                <a:gd name="connsiteX35" fmla="*/ 3978752 w 10375356"/>
                <a:gd name="connsiteY35" fmla="*/ 9974857 h 10394676"/>
                <a:gd name="connsiteX36" fmla="*/ 3815698 w 10375356"/>
                <a:gd name="connsiteY36" fmla="*/ 10137913 h 10394676"/>
                <a:gd name="connsiteX37" fmla="*/ 3828457 w 10375356"/>
                <a:gd name="connsiteY37" fmla="*/ 10201547 h 10394676"/>
                <a:gd name="connsiteX38" fmla="*/ 3845505 w 10375356"/>
                <a:gd name="connsiteY38" fmla="*/ 10226891 h 10394676"/>
                <a:gd name="connsiteX39" fmla="*/ 3724813 w 10375356"/>
                <a:gd name="connsiteY39" fmla="*/ 10192618 h 10394676"/>
                <a:gd name="connsiteX40" fmla="*/ 3713787 w 10375356"/>
                <a:gd name="connsiteY40" fmla="*/ 10137913 h 10394676"/>
                <a:gd name="connsiteX41" fmla="*/ 3978752 w 10375356"/>
                <a:gd name="connsiteY41" fmla="*/ 9872947 h 10394676"/>
                <a:gd name="connsiteX42" fmla="*/ 3155832 w 10375356"/>
                <a:gd name="connsiteY42" fmla="*/ 9872947 h 10394676"/>
                <a:gd name="connsiteX43" fmla="*/ 3399999 w 10375356"/>
                <a:gd name="connsiteY43" fmla="*/ 10034709 h 10394676"/>
                <a:gd name="connsiteX44" fmla="*/ 3411035 w 10375356"/>
                <a:gd name="connsiteY44" fmla="*/ 10089469 h 10394676"/>
                <a:gd name="connsiteX45" fmla="*/ 3280434 w 10375356"/>
                <a:gd name="connsiteY45" fmla="*/ 10037975 h 10394676"/>
                <a:gd name="connsiteX46" fmla="*/ 3270003 w 10375356"/>
                <a:gd name="connsiteY46" fmla="*/ 10022469 h 10394676"/>
                <a:gd name="connsiteX47" fmla="*/ 3154558 w 10375356"/>
                <a:gd name="connsiteY47" fmla="*/ 9974857 h 10394676"/>
                <a:gd name="connsiteX48" fmla="*/ 3136355 w 10375356"/>
                <a:gd name="connsiteY48" fmla="*/ 9978507 h 10394676"/>
                <a:gd name="connsiteX49" fmla="*/ 3005935 w 10375356"/>
                <a:gd name="connsiteY49" fmla="*/ 9919545 h 10394676"/>
                <a:gd name="connsiteX50" fmla="*/ 3007618 w 10375356"/>
                <a:gd name="connsiteY50" fmla="*/ 9918157 h 10394676"/>
                <a:gd name="connsiteX51" fmla="*/ 3155832 w 10375356"/>
                <a:gd name="connsiteY51" fmla="*/ 9872947 h 10394676"/>
                <a:gd name="connsiteX52" fmla="*/ 7851277 w 10375356"/>
                <a:gd name="connsiteY52" fmla="*/ 9262761 h 10394676"/>
                <a:gd name="connsiteX53" fmla="*/ 8362099 w 10375356"/>
                <a:gd name="connsiteY53" fmla="*/ 9262761 h 10394676"/>
                <a:gd name="connsiteX54" fmla="*/ 8362099 w 10375356"/>
                <a:gd name="connsiteY54" fmla="*/ 9346902 h 10394676"/>
                <a:gd name="connsiteX55" fmla="*/ 8339488 w 10375356"/>
                <a:gd name="connsiteY55" fmla="*/ 9364671 h 10394676"/>
                <a:gd name="connsiteX56" fmla="*/ 7851277 w 10375356"/>
                <a:gd name="connsiteY56" fmla="*/ 9364671 h 10394676"/>
                <a:gd name="connsiteX57" fmla="*/ 5379965 w 10375356"/>
                <a:gd name="connsiteY57" fmla="*/ 9262761 h 10394676"/>
                <a:gd name="connsiteX58" fmla="*/ 5890787 w 10375356"/>
                <a:gd name="connsiteY58" fmla="*/ 9262761 h 10394676"/>
                <a:gd name="connsiteX59" fmla="*/ 5890787 w 10375356"/>
                <a:gd name="connsiteY59" fmla="*/ 9364671 h 10394676"/>
                <a:gd name="connsiteX60" fmla="*/ 5379965 w 10375356"/>
                <a:gd name="connsiteY60" fmla="*/ 9364671 h 10394676"/>
                <a:gd name="connsiteX61" fmla="*/ 4546902 w 10375356"/>
                <a:gd name="connsiteY61" fmla="*/ 9262761 h 10394676"/>
                <a:gd name="connsiteX62" fmla="*/ 5057725 w 10375356"/>
                <a:gd name="connsiteY62" fmla="*/ 9262761 h 10394676"/>
                <a:gd name="connsiteX63" fmla="*/ 5057725 w 10375356"/>
                <a:gd name="connsiteY63" fmla="*/ 9364671 h 10394676"/>
                <a:gd name="connsiteX64" fmla="*/ 4546902 w 10375356"/>
                <a:gd name="connsiteY64" fmla="*/ 9364671 h 10394676"/>
                <a:gd name="connsiteX65" fmla="*/ 2899787 w 10375356"/>
                <a:gd name="connsiteY65" fmla="*/ 9262761 h 10394676"/>
                <a:gd name="connsiteX66" fmla="*/ 3410609 w 10375356"/>
                <a:gd name="connsiteY66" fmla="*/ 9262761 h 10394676"/>
                <a:gd name="connsiteX67" fmla="*/ 3410609 w 10375356"/>
                <a:gd name="connsiteY67" fmla="*/ 9364671 h 10394676"/>
                <a:gd name="connsiteX68" fmla="*/ 2899787 w 10375356"/>
                <a:gd name="connsiteY68" fmla="*/ 9364671 h 10394676"/>
                <a:gd name="connsiteX69" fmla="*/ 6450017 w 10375356"/>
                <a:gd name="connsiteY69" fmla="*/ 9150661 h 10394676"/>
                <a:gd name="connsiteX70" fmla="*/ 6286962 w 10375356"/>
                <a:gd name="connsiteY70" fmla="*/ 9313717 h 10394676"/>
                <a:gd name="connsiteX71" fmla="*/ 6450017 w 10375356"/>
                <a:gd name="connsiteY71" fmla="*/ 9476773 h 10394676"/>
                <a:gd name="connsiteX72" fmla="*/ 6613073 w 10375356"/>
                <a:gd name="connsiteY72" fmla="*/ 9313717 h 10394676"/>
                <a:gd name="connsiteX73" fmla="*/ 6450017 w 10375356"/>
                <a:gd name="connsiteY73" fmla="*/ 9150661 h 10394676"/>
                <a:gd name="connsiteX74" fmla="*/ 3978754 w 10375356"/>
                <a:gd name="connsiteY74" fmla="*/ 9150661 h 10394676"/>
                <a:gd name="connsiteX75" fmla="*/ 3815700 w 10375356"/>
                <a:gd name="connsiteY75" fmla="*/ 9313717 h 10394676"/>
                <a:gd name="connsiteX76" fmla="*/ 3978754 w 10375356"/>
                <a:gd name="connsiteY76" fmla="*/ 9476773 h 10394676"/>
                <a:gd name="connsiteX77" fmla="*/ 4141811 w 10375356"/>
                <a:gd name="connsiteY77" fmla="*/ 9313717 h 10394676"/>
                <a:gd name="connsiteX78" fmla="*/ 3978754 w 10375356"/>
                <a:gd name="connsiteY78" fmla="*/ 9150661 h 10394676"/>
                <a:gd name="connsiteX79" fmla="*/ 7232175 w 10375356"/>
                <a:gd name="connsiteY79" fmla="*/ 9057669 h 10394676"/>
                <a:gd name="connsiteX80" fmla="*/ 7334085 w 10375356"/>
                <a:gd name="connsiteY80" fmla="*/ 9057669 h 10394676"/>
                <a:gd name="connsiteX81" fmla="*/ 7334085 w 10375356"/>
                <a:gd name="connsiteY81" fmla="*/ 9568493 h 10394676"/>
                <a:gd name="connsiteX82" fmla="*/ 7232175 w 10375356"/>
                <a:gd name="connsiteY82" fmla="*/ 9568493 h 10394676"/>
                <a:gd name="connsiteX83" fmla="*/ 2280685 w 10375356"/>
                <a:gd name="connsiteY83" fmla="*/ 9057669 h 10394676"/>
                <a:gd name="connsiteX84" fmla="*/ 2382595 w 10375356"/>
                <a:gd name="connsiteY84" fmla="*/ 9057669 h 10394676"/>
                <a:gd name="connsiteX85" fmla="*/ 2382595 w 10375356"/>
                <a:gd name="connsiteY85" fmla="*/ 9568493 h 10394676"/>
                <a:gd name="connsiteX86" fmla="*/ 2374638 w 10375356"/>
                <a:gd name="connsiteY86" fmla="*/ 9568493 h 10394676"/>
                <a:gd name="connsiteX87" fmla="*/ 2297278 w 10375356"/>
                <a:gd name="connsiteY87" fmla="*/ 9518899 h 10394676"/>
                <a:gd name="connsiteX88" fmla="*/ 2280685 w 10375356"/>
                <a:gd name="connsiteY88" fmla="*/ 9507099 h 10394676"/>
                <a:gd name="connsiteX89" fmla="*/ 6450017 w 10375356"/>
                <a:gd name="connsiteY89" fmla="*/ 9048751 h 10394676"/>
                <a:gd name="connsiteX90" fmla="*/ 6714982 w 10375356"/>
                <a:gd name="connsiteY90" fmla="*/ 9313717 h 10394676"/>
                <a:gd name="connsiteX91" fmla="*/ 6450017 w 10375356"/>
                <a:gd name="connsiteY91" fmla="*/ 9578681 h 10394676"/>
                <a:gd name="connsiteX92" fmla="*/ 6185052 w 10375356"/>
                <a:gd name="connsiteY92" fmla="*/ 9313717 h 10394676"/>
                <a:gd name="connsiteX93" fmla="*/ 6450017 w 10375356"/>
                <a:gd name="connsiteY93" fmla="*/ 9048751 h 10394676"/>
                <a:gd name="connsiteX94" fmla="*/ 3978754 w 10375356"/>
                <a:gd name="connsiteY94" fmla="*/ 9048751 h 10394676"/>
                <a:gd name="connsiteX95" fmla="*/ 4243720 w 10375356"/>
                <a:gd name="connsiteY95" fmla="*/ 9313717 h 10394676"/>
                <a:gd name="connsiteX96" fmla="*/ 3978754 w 10375356"/>
                <a:gd name="connsiteY96" fmla="*/ 9578681 h 10394676"/>
                <a:gd name="connsiteX97" fmla="*/ 3713789 w 10375356"/>
                <a:gd name="connsiteY97" fmla="*/ 9313717 h 10394676"/>
                <a:gd name="connsiteX98" fmla="*/ 3978754 w 10375356"/>
                <a:gd name="connsiteY98" fmla="*/ 9048751 h 10394676"/>
                <a:gd name="connsiteX99" fmla="*/ 5676776 w 10375356"/>
                <a:gd name="connsiteY99" fmla="*/ 8665264 h 10394676"/>
                <a:gd name="connsiteX100" fmla="*/ 5676776 w 10375356"/>
                <a:gd name="connsiteY100" fmla="*/ 8745569 h 10394676"/>
                <a:gd name="connsiteX101" fmla="*/ 5574867 w 10375356"/>
                <a:gd name="connsiteY101" fmla="*/ 8745569 h 10394676"/>
                <a:gd name="connsiteX102" fmla="*/ 5574867 w 10375356"/>
                <a:gd name="connsiteY102" fmla="*/ 8678214 h 10394676"/>
                <a:gd name="connsiteX103" fmla="*/ 3918880 w 10375356"/>
                <a:gd name="connsiteY103" fmla="*/ 8449859 h 10394676"/>
                <a:gd name="connsiteX104" fmla="*/ 4007509 w 10375356"/>
                <a:gd name="connsiteY104" fmla="*/ 8484804 h 10394676"/>
                <a:gd name="connsiteX105" fmla="*/ 4020789 w 10375356"/>
                <a:gd name="connsiteY105" fmla="*/ 8489298 h 10394676"/>
                <a:gd name="connsiteX106" fmla="*/ 4020789 w 10375356"/>
                <a:gd name="connsiteY106" fmla="*/ 8745569 h 10394676"/>
                <a:gd name="connsiteX107" fmla="*/ 3918880 w 10375356"/>
                <a:gd name="connsiteY107" fmla="*/ 8745569 h 10394676"/>
                <a:gd name="connsiteX108" fmla="*/ 7018165 w 10375356"/>
                <a:gd name="connsiteY108" fmla="*/ 8438567 h 10394676"/>
                <a:gd name="connsiteX109" fmla="*/ 7528988 w 10375356"/>
                <a:gd name="connsiteY109" fmla="*/ 8438567 h 10394676"/>
                <a:gd name="connsiteX110" fmla="*/ 7528988 w 10375356"/>
                <a:gd name="connsiteY110" fmla="*/ 8540477 h 10394676"/>
                <a:gd name="connsiteX111" fmla="*/ 7018165 w 10375356"/>
                <a:gd name="connsiteY111" fmla="*/ 8540477 h 10394676"/>
                <a:gd name="connsiteX112" fmla="*/ 6530840 w 10375356"/>
                <a:gd name="connsiteY112" fmla="*/ 8438567 h 10394676"/>
                <a:gd name="connsiteX113" fmla="*/ 6697148 w 10375356"/>
                <a:gd name="connsiteY113" fmla="*/ 8438567 h 10394676"/>
                <a:gd name="connsiteX114" fmla="*/ 6697148 w 10375356"/>
                <a:gd name="connsiteY114" fmla="*/ 8540477 h 10394676"/>
                <a:gd name="connsiteX115" fmla="*/ 6248661 w 10375356"/>
                <a:gd name="connsiteY115" fmla="*/ 8540477 h 10394676"/>
                <a:gd name="connsiteX116" fmla="*/ 6251001 w 10375356"/>
                <a:gd name="connsiteY116" fmla="*/ 8539813 h 10394676"/>
                <a:gd name="connsiteX117" fmla="*/ 6413573 w 10375356"/>
                <a:gd name="connsiteY117" fmla="*/ 8484804 h 10394676"/>
                <a:gd name="connsiteX118" fmla="*/ 2066673 w 10375356"/>
                <a:gd name="connsiteY118" fmla="*/ 8438567 h 10394676"/>
                <a:gd name="connsiteX119" fmla="*/ 2577496 w 10375356"/>
                <a:gd name="connsiteY119" fmla="*/ 8438567 h 10394676"/>
                <a:gd name="connsiteX120" fmla="*/ 2577496 w 10375356"/>
                <a:gd name="connsiteY120" fmla="*/ 8540477 h 10394676"/>
                <a:gd name="connsiteX121" fmla="*/ 2066673 w 10375356"/>
                <a:gd name="connsiteY121" fmla="*/ 8540477 h 10394676"/>
                <a:gd name="connsiteX122" fmla="*/ 1234837 w 10375356"/>
                <a:gd name="connsiteY122" fmla="*/ 8438567 h 10394676"/>
                <a:gd name="connsiteX123" fmla="*/ 1745660 w 10375356"/>
                <a:gd name="connsiteY123" fmla="*/ 8438567 h 10394676"/>
                <a:gd name="connsiteX124" fmla="*/ 1745660 w 10375356"/>
                <a:gd name="connsiteY124" fmla="*/ 8540477 h 10394676"/>
                <a:gd name="connsiteX125" fmla="*/ 1234837 w 10375356"/>
                <a:gd name="connsiteY125" fmla="*/ 8540477 h 10394676"/>
                <a:gd name="connsiteX126" fmla="*/ 8870376 w 10375356"/>
                <a:gd name="connsiteY126" fmla="*/ 8234747 h 10394676"/>
                <a:gd name="connsiteX127" fmla="*/ 8972285 w 10375356"/>
                <a:gd name="connsiteY127" fmla="*/ 8234747 h 10394676"/>
                <a:gd name="connsiteX128" fmla="*/ 8972285 w 10375356"/>
                <a:gd name="connsiteY128" fmla="*/ 8745569 h 10394676"/>
                <a:gd name="connsiteX129" fmla="*/ 8870376 w 10375356"/>
                <a:gd name="connsiteY129" fmla="*/ 8745569 h 10394676"/>
                <a:gd name="connsiteX130" fmla="*/ 8046180 w 10375356"/>
                <a:gd name="connsiteY130" fmla="*/ 8234747 h 10394676"/>
                <a:gd name="connsiteX131" fmla="*/ 8148089 w 10375356"/>
                <a:gd name="connsiteY131" fmla="*/ 8234747 h 10394676"/>
                <a:gd name="connsiteX132" fmla="*/ 8148089 w 10375356"/>
                <a:gd name="connsiteY132" fmla="*/ 8745569 h 10394676"/>
                <a:gd name="connsiteX133" fmla="*/ 8046180 w 10375356"/>
                <a:gd name="connsiteY133" fmla="*/ 8745569 h 10394676"/>
                <a:gd name="connsiteX134" fmla="*/ 3094685 w 10375356"/>
                <a:gd name="connsiteY134" fmla="*/ 8234747 h 10394676"/>
                <a:gd name="connsiteX135" fmla="*/ 3196595 w 10375356"/>
                <a:gd name="connsiteY135" fmla="*/ 8234747 h 10394676"/>
                <a:gd name="connsiteX136" fmla="*/ 3196595 w 10375356"/>
                <a:gd name="connsiteY136" fmla="*/ 8745569 h 10394676"/>
                <a:gd name="connsiteX137" fmla="*/ 3094685 w 10375356"/>
                <a:gd name="connsiteY137" fmla="*/ 8745569 h 10394676"/>
                <a:gd name="connsiteX138" fmla="*/ 9489477 w 10375356"/>
                <a:gd name="connsiteY138" fmla="*/ 7615645 h 10394676"/>
                <a:gd name="connsiteX139" fmla="*/ 9824110 w 10375356"/>
                <a:gd name="connsiteY139" fmla="*/ 7615645 h 10394676"/>
                <a:gd name="connsiteX140" fmla="*/ 9792198 w 10375356"/>
                <a:gd name="connsiteY140" fmla="*/ 7681890 h 10394676"/>
                <a:gd name="connsiteX141" fmla="*/ 9770531 w 10375356"/>
                <a:gd name="connsiteY141" fmla="*/ 7717555 h 10394676"/>
                <a:gd name="connsiteX142" fmla="*/ 9489477 w 10375356"/>
                <a:gd name="connsiteY142" fmla="*/ 7717555 h 10394676"/>
                <a:gd name="connsiteX143" fmla="*/ 8666557 w 10375356"/>
                <a:gd name="connsiteY143" fmla="*/ 7615645 h 10394676"/>
                <a:gd name="connsiteX144" fmla="*/ 9177379 w 10375356"/>
                <a:gd name="connsiteY144" fmla="*/ 7615645 h 10394676"/>
                <a:gd name="connsiteX145" fmla="*/ 9177379 w 10375356"/>
                <a:gd name="connsiteY145" fmla="*/ 7717555 h 10394676"/>
                <a:gd name="connsiteX146" fmla="*/ 8666557 w 10375356"/>
                <a:gd name="connsiteY146" fmla="*/ 7717555 h 10394676"/>
                <a:gd name="connsiteX147" fmla="*/ 2322721 w 10375356"/>
                <a:gd name="connsiteY147" fmla="*/ 7503545 h 10394676"/>
                <a:gd name="connsiteX148" fmla="*/ 2159665 w 10375356"/>
                <a:gd name="connsiteY148" fmla="*/ 7666599 h 10394676"/>
                <a:gd name="connsiteX149" fmla="*/ 2322721 w 10375356"/>
                <a:gd name="connsiteY149" fmla="*/ 7829655 h 10394676"/>
                <a:gd name="connsiteX150" fmla="*/ 2485776 w 10375356"/>
                <a:gd name="connsiteY150" fmla="*/ 7666599 h 10394676"/>
                <a:gd name="connsiteX151" fmla="*/ 2322721 w 10375356"/>
                <a:gd name="connsiteY151" fmla="*/ 7503545 h 10394676"/>
                <a:gd name="connsiteX152" fmla="*/ 8046180 w 10375356"/>
                <a:gd name="connsiteY152" fmla="*/ 7410553 h 10394676"/>
                <a:gd name="connsiteX153" fmla="*/ 8148089 w 10375356"/>
                <a:gd name="connsiteY153" fmla="*/ 7410553 h 10394676"/>
                <a:gd name="connsiteX154" fmla="*/ 8148089 w 10375356"/>
                <a:gd name="connsiteY154" fmla="*/ 7921375 h 10394676"/>
                <a:gd name="connsiteX155" fmla="*/ 8046180 w 10375356"/>
                <a:gd name="connsiteY155" fmla="*/ 7921375 h 10394676"/>
                <a:gd name="connsiteX156" fmla="*/ 1447573 w 10375356"/>
                <a:gd name="connsiteY156" fmla="*/ 7410553 h 10394676"/>
                <a:gd name="connsiteX157" fmla="*/ 1549483 w 10375356"/>
                <a:gd name="connsiteY157" fmla="*/ 7410553 h 10394676"/>
                <a:gd name="connsiteX158" fmla="*/ 1549483 w 10375356"/>
                <a:gd name="connsiteY158" fmla="*/ 7921375 h 10394676"/>
                <a:gd name="connsiteX159" fmla="*/ 1447573 w 10375356"/>
                <a:gd name="connsiteY159" fmla="*/ 7921375 h 10394676"/>
                <a:gd name="connsiteX160" fmla="*/ 2322721 w 10375356"/>
                <a:gd name="connsiteY160" fmla="*/ 7401633 h 10394676"/>
                <a:gd name="connsiteX161" fmla="*/ 2587686 w 10375356"/>
                <a:gd name="connsiteY161" fmla="*/ 7666599 h 10394676"/>
                <a:gd name="connsiteX162" fmla="*/ 2322721 w 10375356"/>
                <a:gd name="connsiteY162" fmla="*/ 7931565 h 10394676"/>
                <a:gd name="connsiteX163" fmla="*/ 2057755 w 10375356"/>
                <a:gd name="connsiteY163" fmla="*/ 7666599 h 10394676"/>
                <a:gd name="connsiteX164" fmla="*/ 2322721 w 10375356"/>
                <a:gd name="connsiteY164" fmla="*/ 7401633 h 10394676"/>
                <a:gd name="connsiteX165" fmla="*/ 674333 w 10375356"/>
                <a:gd name="connsiteY165" fmla="*/ 7401633 h 10394676"/>
                <a:gd name="connsiteX166" fmla="*/ 939299 w 10375356"/>
                <a:gd name="connsiteY166" fmla="*/ 7666599 h 10394676"/>
                <a:gd name="connsiteX167" fmla="*/ 777537 w 10375356"/>
                <a:gd name="connsiteY167" fmla="*/ 7910765 h 10394676"/>
                <a:gd name="connsiteX168" fmla="*/ 769452 w 10375356"/>
                <a:gd name="connsiteY168" fmla="*/ 7913271 h 10394676"/>
                <a:gd name="connsiteX169" fmla="*/ 713980 w 10375356"/>
                <a:gd name="connsiteY169" fmla="*/ 7821961 h 10394676"/>
                <a:gd name="connsiteX170" fmla="*/ 739241 w 10375356"/>
                <a:gd name="connsiteY170" fmla="*/ 7816897 h 10394676"/>
                <a:gd name="connsiteX171" fmla="*/ 838662 w 10375356"/>
                <a:gd name="connsiteY171" fmla="*/ 7666599 h 10394676"/>
                <a:gd name="connsiteX172" fmla="*/ 675607 w 10375356"/>
                <a:gd name="connsiteY172" fmla="*/ 7503545 h 10394676"/>
                <a:gd name="connsiteX173" fmla="*/ 611973 w 10375356"/>
                <a:gd name="connsiteY173" fmla="*/ 7516304 h 10394676"/>
                <a:gd name="connsiteX174" fmla="*/ 564501 w 10375356"/>
                <a:gd name="connsiteY174" fmla="*/ 7548238 h 10394676"/>
                <a:gd name="connsiteX175" fmla="*/ 518632 w 10375356"/>
                <a:gd name="connsiteY175" fmla="*/ 7453019 h 10394676"/>
                <a:gd name="connsiteX176" fmla="*/ 526119 w 10375356"/>
                <a:gd name="connsiteY176" fmla="*/ 7446844 h 10394676"/>
                <a:gd name="connsiteX177" fmla="*/ 674333 w 10375356"/>
                <a:gd name="connsiteY177" fmla="*/ 7401633 h 10394676"/>
                <a:gd name="connsiteX178" fmla="*/ 8148089 w 10375356"/>
                <a:gd name="connsiteY178" fmla="*/ 7094869 h 10394676"/>
                <a:gd name="connsiteX179" fmla="*/ 8148089 w 10375356"/>
                <a:gd name="connsiteY179" fmla="*/ 7097179 h 10394676"/>
                <a:gd name="connsiteX180" fmla="*/ 8146686 w 10375356"/>
                <a:gd name="connsiteY180" fmla="*/ 7097179 h 10394676"/>
                <a:gd name="connsiteX181" fmla="*/ 8665281 w 10375356"/>
                <a:gd name="connsiteY181" fmla="*/ 6791449 h 10394676"/>
                <a:gd name="connsiteX182" fmla="*/ 9176104 w 10375356"/>
                <a:gd name="connsiteY182" fmla="*/ 6791449 h 10394676"/>
                <a:gd name="connsiteX183" fmla="*/ 9176104 w 10375356"/>
                <a:gd name="connsiteY183" fmla="*/ 6893357 h 10394676"/>
                <a:gd name="connsiteX184" fmla="*/ 8665281 w 10375356"/>
                <a:gd name="connsiteY184" fmla="*/ 6893357 h 10394676"/>
                <a:gd name="connsiteX185" fmla="*/ 2066681 w 10375356"/>
                <a:gd name="connsiteY185" fmla="*/ 6791449 h 10394676"/>
                <a:gd name="connsiteX186" fmla="*/ 2098040 w 10375356"/>
                <a:gd name="connsiteY186" fmla="*/ 6791449 h 10394676"/>
                <a:gd name="connsiteX187" fmla="*/ 2133958 w 10375356"/>
                <a:gd name="connsiteY187" fmla="*/ 6866010 h 10394676"/>
                <a:gd name="connsiteX188" fmla="*/ 2150572 w 10375356"/>
                <a:gd name="connsiteY188" fmla="*/ 6893357 h 10394676"/>
                <a:gd name="connsiteX189" fmla="*/ 2066681 w 10375356"/>
                <a:gd name="connsiteY189" fmla="*/ 6893357 h 10394676"/>
                <a:gd name="connsiteX190" fmla="*/ 419562 w 10375356"/>
                <a:gd name="connsiteY190" fmla="*/ 6791449 h 10394676"/>
                <a:gd name="connsiteX191" fmla="*/ 930385 w 10375356"/>
                <a:gd name="connsiteY191" fmla="*/ 6791449 h 10394676"/>
                <a:gd name="connsiteX192" fmla="*/ 930385 w 10375356"/>
                <a:gd name="connsiteY192" fmla="*/ 6893357 h 10394676"/>
                <a:gd name="connsiteX193" fmla="*/ 419562 w 10375356"/>
                <a:gd name="connsiteY193" fmla="*/ 6893357 h 10394676"/>
                <a:gd name="connsiteX194" fmla="*/ 9745526 w 10375356"/>
                <a:gd name="connsiteY194" fmla="*/ 6679349 h 10394676"/>
                <a:gd name="connsiteX195" fmla="*/ 9582469 w 10375356"/>
                <a:gd name="connsiteY195" fmla="*/ 6842405 h 10394676"/>
                <a:gd name="connsiteX196" fmla="*/ 9745526 w 10375356"/>
                <a:gd name="connsiteY196" fmla="*/ 7005461 h 10394676"/>
                <a:gd name="connsiteX197" fmla="*/ 9908582 w 10375356"/>
                <a:gd name="connsiteY197" fmla="*/ 6842405 h 10394676"/>
                <a:gd name="connsiteX198" fmla="*/ 9745526 w 10375356"/>
                <a:gd name="connsiteY198" fmla="*/ 6679349 h 10394676"/>
                <a:gd name="connsiteX199" fmla="*/ 1498533 w 10375356"/>
                <a:gd name="connsiteY199" fmla="*/ 6679349 h 10394676"/>
                <a:gd name="connsiteX200" fmla="*/ 1335477 w 10375356"/>
                <a:gd name="connsiteY200" fmla="*/ 6842405 h 10394676"/>
                <a:gd name="connsiteX201" fmla="*/ 1498533 w 10375356"/>
                <a:gd name="connsiteY201" fmla="*/ 7005461 h 10394676"/>
                <a:gd name="connsiteX202" fmla="*/ 1661588 w 10375356"/>
                <a:gd name="connsiteY202" fmla="*/ 6842405 h 10394676"/>
                <a:gd name="connsiteX203" fmla="*/ 1498533 w 10375356"/>
                <a:gd name="connsiteY203" fmla="*/ 6679349 h 10394676"/>
                <a:gd name="connsiteX204" fmla="*/ 9744252 w 10375356"/>
                <a:gd name="connsiteY204" fmla="*/ 6577439 h 10394676"/>
                <a:gd name="connsiteX205" fmla="*/ 10009217 w 10375356"/>
                <a:gd name="connsiteY205" fmla="*/ 6842405 h 10394676"/>
                <a:gd name="connsiteX206" fmla="*/ 9744252 w 10375356"/>
                <a:gd name="connsiteY206" fmla="*/ 7107369 h 10394676"/>
                <a:gd name="connsiteX207" fmla="*/ 9479286 w 10375356"/>
                <a:gd name="connsiteY207" fmla="*/ 6842405 h 10394676"/>
                <a:gd name="connsiteX208" fmla="*/ 9744252 w 10375356"/>
                <a:gd name="connsiteY208" fmla="*/ 6577439 h 10394676"/>
                <a:gd name="connsiteX209" fmla="*/ 1499807 w 10375356"/>
                <a:gd name="connsiteY209" fmla="*/ 6577439 h 10394676"/>
                <a:gd name="connsiteX210" fmla="*/ 1764771 w 10375356"/>
                <a:gd name="connsiteY210" fmla="*/ 6842405 h 10394676"/>
                <a:gd name="connsiteX211" fmla="*/ 1499807 w 10375356"/>
                <a:gd name="connsiteY211" fmla="*/ 7107369 h 10394676"/>
                <a:gd name="connsiteX212" fmla="*/ 1234841 w 10375356"/>
                <a:gd name="connsiteY212" fmla="*/ 6842405 h 10394676"/>
                <a:gd name="connsiteX213" fmla="*/ 1499807 w 10375356"/>
                <a:gd name="connsiteY213" fmla="*/ 6577439 h 10394676"/>
                <a:gd name="connsiteX214" fmla="*/ 8921331 w 10375356"/>
                <a:gd name="connsiteY214" fmla="*/ 5855153 h 10394676"/>
                <a:gd name="connsiteX215" fmla="*/ 8758274 w 10375356"/>
                <a:gd name="connsiteY215" fmla="*/ 6018209 h 10394676"/>
                <a:gd name="connsiteX216" fmla="*/ 8921331 w 10375356"/>
                <a:gd name="connsiteY216" fmla="*/ 6181265 h 10394676"/>
                <a:gd name="connsiteX217" fmla="*/ 9084385 w 10375356"/>
                <a:gd name="connsiteY217" fmla="*/ 6018209 h 10394676"/>
                <a:gd name="connsiteX218" fmla="*/ 8921331 w 10375356"/>
                <a:gd name="connsiteY218" fmla="*/ 5855153 h 10394676"/>
                <a:gd name="connsiteX219" fmla="*/ 674337 w 10375356"/>
                <a:gd name="connsiteY219" fmla="*/ 5855153 h 10394676"/>
                <a:gd name="connsiteX220" fmla="*/ 511282 w 10375356"/>
                <a:gd name="connsiteY220" fmla="*/ 6018209 h 10394676"/>
                <a:gd name="connsiteX221" fmla="*/ 674337 w 10375356"/>
                <a:gd name="connsiteY221" fmla="*/ 6181265 h 10394676"/>
                <a:gd name="connsiteX222" fmla="*/ 837393 w 10375356"/>
                <a:gd name="connsiteY222" fmla="*/ 6018209 h 10394676"/>
                <a:gd name="connsiteX223" fmla="*/ 674337 w 10375356"/>
                <a:gd name="connsiteY223" fmla="*/ 5855153 h 10394676"/>
                <a:gd name="connsiteX224" fmla="*/ 10375356 w 10375356"/>
                <a:gd name="connsiteY224" fmla="*/ 5854333 h 10394676"/>
                <a:gd name="connsiteX225" fmla="*/ 10334572 w 10375356"/>
                <a:gd name="connsiteY225" fmla="*/ 6121561 h 10394676"/>
                <a:gd name="connsiteX226" fmla="*/ 10334472 w 10375356"/>
                <a:gd name="connsiteY226" fmla="*/ 6121413 h 10394676"/>
                <a:gd name="connsiteX227" fmla="*/ 10313672 w 10375356"/>
                <a:gd name="connsiteY227" fmla="*/ 6018209 h 10394676"/>
                <a:gd name="connsiteX228" fmla="*/ 10334472 w 10375356"/>
                <a:gd name="connsiteY228" fmla="*/ 5915005 h 10394676"/>
                <a:gd name="connsiteX229" fmla="*/ 9694571 w 10375356"/>
                <a:gd name="connsiteY229" fmla="*/ 5763433 h 10394676"/>
                <a:gd name="connsiteX230" fmla="*/ 9796481 w 10375356"/>
                <a:gd name="connsiteY230" fmla="*/ 5763433 h 10394676"/>
                <a:gd name="connsiteX231" fmla="*/ 9796481 w 10375356"/>
                <a:gd name="connsiteY231" fmla="*/ 6274257 h 10394676"/>
                <a:gd name="connsiteX232" fmla="*/ 9694571 w 10375356"/>
                <a:gd name="connsiteY232" fmla="*/ 6274257 h 10394676"/>
                <a:gd name="connsiteX233" fmla="*/ 1447575 w 10375356"/>
                <a:gd name="connsiteY233" fmla="*/ 5763433 h 10394676"/>
                <a:gd name="connsiteX234" fmla="*/ 1549485 w 10375356"/>
                <a:gd name="connsiteY234" fmla="*/ 5763433 h 10394676"/>
                <a:gd name="connsiteX235" fmla="*/ 1549485 w 10375356"/>
                <a:gd name="connsiteY235" fmla="*/ 6274257 h 10394676"/>
                <a:gd name="connsiteX236" fmla="*/ 1447575 w 10375356"/>
                <a:gd name="connsiteY236" fmla="*/ 6274257 h 10394676"/>
                <a:gd name="connsiteX237" fmla="*/ 8922604 w 10375356"/>
                <a:gd name="connsiteY237" fmla="*/ 5753243 h 10394676"/>
                <a:gd name="connsiteX238" fmla="*/ 9187569 w 10375356"/>
                <a:gd name="connsiteY238" fmla="*/ 6018209 h 10394676"/>
                <a:gd name="connsiteX239" fmla="*/ 8922604 w 10375356"/>
                <a:gd name="connsiteY239" fmla="*/ 6283173 h 10394676"/>
                <a:gd name="connsiteX240" fmla="*/ 8657638 w 10375356"/>
                <a:gd name="connsiteY240" fmla="*/ 6018209 h 10394676"/>
                <a:gd name="connsiteX241" fmla="*/ 8922604 w 10375356"/>
                <a:gd name="connsiteY241" fmla="*/ 5753243 h 10394676"/>
                <a:gd name="connsiteX242" fmla="*/ 675610 w 10375356"/>
                <a:gd name="connsiteY242" fmla="*/ 5753243 h 10394676"/>
                <a:gd name="connsiteX243" fmla="*/ 940577 w 10375356"/>
                <a:gd name="connsiteY243" fmla="*/ 6018209 h 10394676"/>
                <a:gd name="connsiteX244" fmla="*/ 675610 w 10375356"/>
                <a:gd name="connsiteY244" fmla="*/ 6283173 h 10394676"/>
                <a:gd name="connsiteX245" fmla="*/ 410646 w 10375356"/>
                <a:gd name="connsiteY245" fmla="*/ 6018209 h 10394676"/>
                <a:gd name="connsiteX246" fmla="*/ 675610 w 10375356"/>
                <a:gd name="connsiteY246" fmla="*/ 5753243 h 10394676"/>
                <a:gd name="connsiteX247" fmla="*/ 9489477 w 10375356"/>
                <a:gd name="connsiteY247" fmla="*/ 5143057 h 10394676"/>
                <a:gd name="connsiteX248" fmla="*/ 10000300 w 10375356"/>
                <a:gd name="connsiteY248" fmla="*/ 5143057 h 10394676"/>
                <a:gd name="connsiteX249" fmla="*/ 10000300 w 10375356"/>
                <a:gd name="connsiteY249" fmla="*/ 5244969 h 10394676"/>
                <a:gd name="connsiteX250" fmla="*/ 9489477 w 10375356"/>
                <a:gd name="connsiteY250" fmla="*/ 5244969 h 10394676"/>
                <a:gd name="connsiteX251" fmla="*/ 8706634 w 10375356"/>
                <a:gd name="connsiteY251" fmla="*/ 5143057 h 10394676"/>
                <a:gd name="connsiteX252" fmla="*/ 9176104 w 10375356"/>
                <a:gd name="connsiteY252" fmla="*/ 5143057 h 10394676"/>
                <a:gd name="connsiteX253" fmla="*/ 9176104 w 10375356"/>
                <a:gd name="connsiteY253" fmla="*/ 5244969 h 10394676"/>
                <a:gd name="connsiteX254" fmla="*/ 8707060 w 10375356"/>
                <a:gd name="connsiteY254" fmla="*/ 5244969 h 10394676"/>
                <a:gd name="connsiteX255" fmla="*/ 8709420 w 10375356"/>
                <a:gd name="connsiteY255" fmla="*/ 5198237 h 10394676"/>
                <a:gd name="connsiteX256" fmla="*/ 1242485 w 10375356"/>
                <a:gd name="connsiteY256" fmla="*/ 5143057 h 10394676"/>
                <a:gd name="connsiteX257" fmla="*/ 1714449 w 10375356"/>
                <a:gd name="connsiteY257" fmla="*/ 5143057 h 10394676"/>
                <a:gd name="connsiteX258" fmla="*/ 1711662 w 10375356"/>
                <a:gd name="connsiteY258" fmla="*/ 5198237 h 10394676"/>
                <a:gd name="connsiteX259" fmla="*/ 1714022 w 10375356"/>
                <a:gd name="connsiteY259" fmla="*/ 5244969 h 10394676"/>
                <a:gd name="connsiteX260" fmla="*/ 1242485 w 10375356"/>
                <a:gd name="connsiteY260" fmla="*/ 5244969 h 10394676"/>
                <a:gd name="connsiteX261" fmla="*/ 2787 w 10375356"/>
                <a:gd name="connsiteY261" fmla="*/ 5143057 h 10394676"/>
                <a:gd name="connsiteX262" fmla="*/ 97302 w 10375356"/>
                <a:gd name="connsiteY262" fmla="*/ 5143057 h 10394676"/>
                <a:gd name="connsiteX263" fmla="*/ 97302 w 10375356"/>
                <a:gd name="connsiteY263" fmla="*/ 5244969 h 10394676"/>
                <a:gd name="connsiteX264" fmla="*/ 2360 w 10375356"/>
                <a:gd name="connsiteY264" fmla="*/ 5244969 h 10394676"/>
                <a:gd name="connsiteX265" fmla="*/ 0 w 10375356"/>
                <a:gd name="connsiteY265" fmla="*/ 5198237 h 10394676"/>
                <a:gd name="connsiteX266" fmla="*/ 623389 w 10375356"/>
                <a:gd name="connsiteY266" fmla="*/ 4939239 h 10394676"/>
                <a:gd name="connsiteX267" fmla="*/ 725299 w 10375356"/>
                <a:gd name="connsiteY267" fmla="*/ 4939239 h 10394676"/>
                <a:gd name="connsiteX268" fmla="*/ 725299 w 10375356"/>
                <a:gd name="connsiteY268" fmla="*/ 5450061 h 10394676"/>
                <a:gd name="connsiteX269" fmla="*/ 623389 w 10375356"/>
                <a:gd name="connsiteY269" fmla="*/ 5450061 h 10394676"/>
                <a:gd name="connsiteX270" fmla="*/ 86723 w 10375356"/>
                <a:gd name="connsiteY270" fmla="*/ 4273524 h 10394676"/>
                <a:gd name="connsiteX271" fmla="*/ 106218 w 10375356"/>
                <a:gd name="connsiteY271" fmla="*/ 4371093 h 10394676"/>
                <a:gd name="connsiteX272" fmla="*/ 85418 w 10375356"/>
                <a:gd name="connsiteY272" fmla="*/ 4474296 h 10394676"/>
                <a:gd name="connsiteX273" fmla="*/ 47492 w 10375356"/>
                <a:gd name="connsiteY273" fmla="*/ 4530579 h 10394676"/>
                <a:gd name="connsiteX274" fmla="*/ 9745526 w 10375356"/>
                <a:gd name="connsiteY274" fmla="*/ 4208037 h 10394676"/>
                <a:gd name="connsiteX275" fmla="*/ 9582469 w 10375356"/>
                <a:gd name="connsiteY275" fmla="*/ 4371093 h 10394676"/>
                <a:gd name="connsiteX276" fmla="*/ 9745526 w 10375356"/>
                <a:gd name="connsiteY276" fmla="*/ 4534147 h 10394676"/>
                <a:gd name="connsiteX277" fmla="*/ 9908582 w 10375356"/>
                <a:gd name="connsiteY277" fmla="*/ 4371093 h 10394676"/>
                <a:gd name="connsiteX278" fmla="*/ 9745526 w 10375356"/>
                <a:gd name="connsiteY278" fmla="*/ 4208037 h 10394676"/>
                <a:gd name="connsiteX279" fmla="*/ 1498539 w 10375356"/>
                <a:gd name="connsiteY279" fmla="*/ 4208037 h 10394676"/>
                <a:gd name="connsiteX280" fmla="*/ 1335482 w 10375356"/>
                <a:gd name="connsiteY280" fmla="*/ 4371093 h 10394676"/>
                <a:gd name="connsiteX281" fmla="*/ 1498539 w 10375356"/>
                <a:gd name="connsiteY281" fmla="*/ 4534147 h 10394676"/>
                <a:gd name="connsiteX282" fmla="*/ 1661593 w 10375356"/>
                <a:gd name="connsiteY282" fmla="*/ 4371093 h 10394676"/>
                <a:gd name="connsiteX283" fmla="*/ 1498539 w 10375356"/>
                <a:gd name="connsiteY283" fmla="*/ 4208037 h 10394676"/>
                <a:gd name="connsiteX284" fmla="*/ 8870376 w 10375356"/>
                <a:gd name="connsiteY284" fmla="*/ 4115043 h 10394676"/>
                <a:gd name="connsiteX285" fmla="*/ 8972285 w 10375356"/>
                <a:gd name="connsiteY285" fmla="*/ 4115043 h 10394676"/>
                <a:gd name="connsiteX286" fmla="*/ 8972285 w 10375356"/>
                <a:gd name="connsiteY286" fmla="*/ 4625865 h 10394676"/>
                <a:gd name="connsiteX287" fmla="*/ 8870376 w 10375356"/>
                <a:gd name="connsiteY287" fmla="*/ 4625865 h 10394676"/>
                <a:gd name="connsiteX288" fmla="*/ 623387 w 10375356"/>
                <a:gd name="connsiteY288" fmla="*/ 4115043 h 10394676"/>
                <a:gd name="connsiteX289" fmla="*/ 725297 w 10375356"/>
                <a:gd name="connsiteY289" fmla="*/ 4115043 h 10394676"/>
                <a:gd name="connsiteX290" fmla="*/ 725297 w 10375356"/>
                <a:gd name="connsiteY290" fmla="*/ 4625865 h 10394676"/>
                <a:gd name="connsiteX291" fmla="*/ 623387 w 10375356"/>
                <a:gd name="connsiteY291" fmla="*/ 4625865 h 10394676"/>
                <a:gd name="connsiteX292" fmla="*/ 9744252 w 10375356"/>
                <a:gd name="connsiteY292" fmla="*/ 4106125 h 10394676"/>
                <a:gd name="connsiteX293" fmla="*/ 10009217 w 10375356"/>
                <a:gd name="connsiteY293" fmla="*/ 4371093 h 10394676"/>
                <a:gd name="connsiteX294" fmla="*/ 9744252 w 10375356"/>
                <a:gd name="connsiteY294" fmla="*/ 4636057 h 10394676"/>
                <a:gd name="connsiteX295" fmla="*/ 9479286 w 10375356"/>
                <a:gd name="connsiteY295" fmla="*/ 4371093 h 10394676"/>
                <a:gd name="connsiteX296" fmla="*/ 9744252 w 10375356"/>
                <a:gd name="connsiteY296" fmla="*/ 4106125 h 10394676"/>
                <a:gd name="connsiteX297" fmla="*/ 1499812 w 10375356"/>
                <a:gd name="connsiteY297" fmla="*/ 4106125 h 10394676"/>
                <a:gd name="connsiteX298" fmla="*/ 1764778 w 10375356"/>
                <a:gd name="connsiteY298" fmla="*/ 4371093 h 10394676"/>
                <a:gd name="connsiteX299" fmla="*/ 1499812 w 10375356"/>
                <a:gd name="connsiteY299" fmla="*/ 4636057 h 10394676"/>
                <a:gd name="connsiteX300" fmla="*/ 1234846 w 10375356"/>
                <a:gd name="connsiteY300" fmla="*/ 4371093 h 10394676"/>
                <a:gd name="connsiteX301" fmla="*/ 1499812 w 10375356"/>
                <a:gd name="connsiteY301" fmla="*/ 4106125 h 10394676"/>
                <a:gd name="connsiteX302" fmla="*/ 9489477 w 10375356"/>
                <a:gd name="connsiteY302" fmla="*/ 3495941 h 10394676"/>
                <a:gd name="connsiteX303" fmla="*/ 10000300 w 10375356"/>
                <a:gd name="connsiteY303" fmla="*/ 3495941 h 10394676"/>
                <a:gd name="connsiteX304" fmla="*/ 10000300 w 10375356"/>
                <a:gd name="connsiteY304" fmla="*/ 3597851 h 10394676"/>
                <a:gd name="connsiteX305" fmla="*/ 9489477 w 10375356"/>
                <a:gd name="connsiteY305" fmla="*/ 3597851 h 10394676"/>
                <a:gd name="connsiteX306" fmla="*/ 2066685 w 10375356"/>
                <a:gd name="connsiteY306" fmla="*/ 3495941 h 10394676"/>
                <a:gd name="connsiteX307" fmla="*/ 2154931 w 10375356"/>
                <a:gd name="connsiteY307" fmla="*/ 3495941 h 10394676"/>
                <a:gd name="connsiteX308" fmla="*/ 2133958 w 10375356"/>
                <a:gd name="connsiteY308" fmla="*/ 3530464 h 10394676"/>
                <a:gd name="connsiteX309" fmla="*/ 2101496 w 10375356"/>
                <a:gd name="connsiteY309" fmla="*/ 3597851 h 10394676"/>
                <a:gd name="connsiteX310" fmla="*/ 2066685 w 10375356"/>
                <a:gd name="connsiteY310" fmla="*/ 3597851 h 10394676"/>
                <a:gd name="connsiteX311" fmla="*/ 674343 w 10375356"/>
                <a:gd name="connsiteY311" fmla="*/ 3383841 h 10394676"/>
                <a:gd name="connsiteX312" fmla="*/ 511289 w 10375356"/>
                <a:gd name="connsiteY312" fmla="*/ 3546897 h 10394676"/>
                <a:gd name="connsiteX313" fmla="*/ 674343 w 10375356"/>
                <a:gd name="connsiteY313" fmla="*/ 3709953 h 10394676"/>
                <a:gd name="connsiteX314" fmla="*/ 837399 w 10375356"/>
                <a:gd name="connsiteY314" fmla="*/ 3546897 h 10394676"/>
                <a:gd name="connsiteX315" fmla="*/ 674343 w 10375356"/>
                <a:gd name="connsiteY315" fmla="*/ 3383841 h 10394676"/>
                <a:gd name="connsiteX316" fmla="*/ 8870376 w 10375356"/>
                <a:gd name="connsiteY316" fmla="*/ 3292121 h 10394676"/>
                <a:gd name="connsiteX317" fmla="*/ 8972285 w 10375356"/>
                <a:gd name="connsiteY317" fmla="*/ 3292121 h 10394676"/>
                <a:gd name="connsiteX318" fmla="*/ 8972285 w 10375356"/>
                <a:gd name="connsiteY318" fmla="*/ 3802945 h 10394676"/>
                <a:gd name="connsiteX319" fmla="*/ 8870376 w 10375356"/>
                <a:gd name="connsiteY319" fmla="*/ 3802945 h 10394676"/>
                <a:gd name="connsiteX320" fmla="*/ 8142327 w 10375356"/>
                <a:gd name="connsiteY320" fmla="*/ 3292121 h 10394676"/>
                <a:gd name="connsiteX321" fmla="*/ 8148089 w 10375356"/>
                <a:gd name="connsiteY321" fmla="*/ 3292121 h 10394676"/>
                <a:gd name="connsiteX322" fmla="*/ 8148089 w 10375356"/>
                <a:gd name="connsiteY322" fmla="*/ 3301606 h 10394676"/>
                <a:gd name="connsiteX323" fmla="*/ 1447583 w 10375356"/>
                <a:gd name="connsiteY323" fmla="*/ 3292121 h 10394676"/>
                <a:gd name="connsiteX324" fmla="*/ 1549493 w 10375356"/>
                <a:gd name="connsiteY324" fmla="*/ 3292121 h 10394676"/>
                <a:gd name="connsiteX325" fmla="*/ 1549493 w 10375356"/>
                <a:gd name="connsiteY325" fmla="*/ 3802945 h 10394676"/>
                <a:gd name="connsiteX326" fmla="*/ 1447583 w 10375356"/>
                <a:gd name="connsiteY326" fmla="*/ 3802945 h 10394676"/>
                <a:gd name="connsiteX327" fmla="*/ 675617 w 10375356"/>
                <a:gd name="connsiteY327" fmla="*/ 3281931 h 10394676"/>
                <a:gd name="connsiteX328" fmla="*/ 940583 w 10375356"/>
                <a:gd name="connsiteY328" fmla="*/ 3546897 h 10394676"/>
                <a:gd name="connsiteX329" fmla="*/ 675617 w 10375356"/>
                <a:gd name="connsiteY329" fmla="*/ 3811861 h 10394676"/>
                <a:gd name="connsiteX330" fmla="*/ 410652 w 10375356"/>
                <a:gd name="connsiteY330" fmla="*/ 3546897 h 10394676"/>
                <a:gd name="connsiteX331" fmla="*/ 675617 w 10375356"/>
                <a:gd name="connsiteY331" fmla="*/ 3281931 h 10394676"/>
                <a:gd name="connsiteX332" fmla="*/ 1242482 w 10375356"/>
                <a:gd name="connsiteY332" fmla="*/ 2671745 h 10394676"/>
                <a:gd name="connsiteX333" fmla="*/ 1753305 w 10375356"/>
                <a:gd name="connsiteY333" fmla="*/ 2671745 h 10394676"/>
                <a:gd name="connsiteX334" fmla="*/ 1753305 w 10375356"/>
                <a:gd name="connsiteY334" fmla="*/ 2773657 h 10394676"/>
                <a:gd name="connsiteX335" fmla="*/ 1242482 w 10375356"/>
                <a:gd name="connsiteY335" fmla="*/ 2773657 h 10394676"/>
                <a:gd name="connsiteX336" fmla="*/ 8921331 w 10375356"/>
                <a:gd name="connsiteY336" fmla="*/ 2560919 h 10394676"/>
                <a:gd name="connsiteX337" fmla="*/ 8758275 w 10375356"/>
                <a:gd name="connsiteY337" fmla="*/ 2723975 h 10394676"/>
                <a:gd name="connsiteX338" fmla="*/ 8921331 w 10375356"/>
                <a:gd name="connsiteY338" fmla="*/ 2887029 h 10394676"/>
                <a:gd name="connsiteX339" fmla="*/ 9084386 w 10375356"/>
                <a:gd name="connsiteY339" fmla="*/ 2723975 h 10394676"/>
                <a:gd name="connsiteX340" fmla="*/ 8921331 w 10375356"/>
                <a:gd name="connsiteY340" fmla="*/ 2560919 h 10394676"/>
                <a:gd name="connsiteX341" fmla="*/ 2322726 w 10375356"/>
                <a:gd name="connsiteY341" fmla="*/ 2560919 h 10394676"/>
                <a:gd name="connsiteX342" fmla="*/ 2159671 w 10375356"/>
                <a:gd name="connsiteY342" fmla="*/ 2723975 h 10394676"/>
                <a:gd name="connsiteX343" fmla="*/ 2322726 w 10375356"/>
                <a:gd name="connsiteY343" fmla="*/ 2887029 h 10394676"/>
                <a:gd name="connsiteX344" fmla="*/ 2485782 w 10375356"/>
                <a:gd name="connsiteY344" fmla="*/ 2723975 h 10394676"/>
                <a:gd name="connsiteX345" fmla="*/ 2322726 w 10375356"/>
                <a:gd name="connsiteY345" fmla="*/ 2560919 h 10394676"/>
                <a:gd name="connsiteX346" fmla="*/ 9694571 w 10375356"/>
                <a:gd name="connsiteY346" fmla="*/ 2553886 h 10394676"/>
                <a:gd name="connsiteX347" fmla="*/ 9792198 w 10375356"/>
                <a:gd name="connsiteY347" fmla="*/ 2714584 h 10394676"/>
                <a:gd name="connsiteX348" fmla="*/ 9796481 w 10375356"/>
                <a:gd name="connsiteY348" fmla="*/ 2723476 h 10394676"/>
                <a:gd name="connsiteX349" fmla="*/ 9796481 w 10375356"/>
                <a:gd name="connsiteY349" fmla="*/ 2978749 h 10394676"/>
                <a:gd name="connsiteX350" fmla="*/ 9694571 w 10375356"/>
                <a:gd name="connsiteY350" fmla="*/ 2978749 h 10394676"/>
                <a:gd name="connsiteX351" fmla="*/ 772671 w 10375356"/>
                <a:gd name="connsiteY351" fmla="*/ 2477905 h 10394676"/>
                <a:gd name="connsiteX352" fmla="*/ 778813 w 10375356"/>
                <a:gd name="connsiteY352" fmla="*/ 2479809 h 10394676"/>
                <a:gd name="connsiteX353" fmla="*/ 940575 w 10375356"/>
                <a:gd name="connsiteY353" fmla="*/ 2723975 h 10394676"/>
                <a:gd name="connsiteX354" fmla="*/ 675608 w 10375356"/>
                <a:gd name="connsiteY354" fmla="*/ 2988941 h 10394676"/>
                <a:gd name="connsiteX355" fmla="*/ 527394 w 10375356"/>
                <a:gd name="connsiteY355" fmla="*/ 2942835 h 10394676"/>
                <a:gd name="connsiteX356" fmla="*/ 521341 w 10375356"/>
                <a:gd name="connsiteY356" fmla="*/ 2937832 h 10394676"/>
                <a:gd name="connsiteX357" fmla="*/ 566336 w 10375356"/>
                <a:gd name="connsiteY357" fmla="*/ 2844427 h 10394676"/>
                <a:gd name="connsiteX358" fmla="*/ 610701 w 10375356"/>
                <a:gd name="connsiteY358" fmla="*/ 2874271 h 10394676"/>
                <a:gd name="connsiteX359" fmla="*/ 674334 w 10375356"/>
                <a:gd name="connsiteY359" fmla="*/ 2887029 h 10394676"/>
                <a:gd name="connsiteX360" fmla="*/ 837390 w 10375356"/>
                <a:gd name="connsiteY360" fmla="*/ 2723975 h 10394676"/>
                <a:gd name="connsiteX361" fmla="*/ 737968 w 10375356"/>
                <a:gd name="connsiteY361" fmla="*/ 2573678 h 10394676"/>
                <a:gd name="connsiteX362" fmla="*/ 717037 w 10375356"/>
                <a:gd name="connsiteY362" fmla="*/ 2569481 h 10394676"/>
                <a:gd name="connsiteX363" fmla="*/ 8046180 w 10375356"/>
                <a:gd name="connsiteY363" fmla="*/ 2467925 h 10394676"/>
                <a:gd name="connsiteX364" fmla="*/ 8148089 w 10375356"/>
                <a:gd name="connsiteY364" fmla="*/ 2467925 h 10394676"/>
                <a:gd name="connsiteX365" fmla="*/ 8148089 w 10375356"/>
                <a:gd name="connsiteY365" fmla="*/ 2978749 h 10394676"/>
                <a:gd name="connsiteX366" fmla="*/ 8046180 w 10375356"/>
                <a:gd name="connsiteY366" fmla="*/ 2978749 h 10394676"/>
                <a:gd name="connsiteX367" fmla="*/ 8921331 w 10375356"/>
                <a:gd name="connsiteY367" fmla="*/ 2459009 h 10394676"/>
                <a:gd name="connsiteX368" fmla="*/ 9186296 w 10375356"/>
                <a:gd name="connsiteY368" fmla="*/ 2723975 h 10394676"/>
                <a:gd name="connsiteX369" fmla="*/ 8921331 w 10375356"/>
                <a:gd name="connsiteY369" fmla="*/ 2988941 h 10394676"/>
                <a:gd name="connsiteX370" fmla="*/ 8656365 w 10375356"/>
                <a:gd name="connsiteY370" fmla="*/ 2723975 h 10394676"/>
                <a:gd name="connsiteX371" fmla="*/ 8921331 w 10375356"/>
                <a:gd name="connsiteY371" fmla="*/ 2459009 h 10394676"/>
                <a:gd name="connsiteX372" fmla="*/ 2322726 w 10375356"/>
                <a:gd name="connsiteY372" fmla="*/ 2459009 h 10394676"/>
                <a:gd name="connsiteX373" fmla="*/ 2587692 w 10375356"/>
                <a:gd name="connsiteY373" fmla="*/ 2723975 h 10394676"/>
                <a:gd name="connsiteX374" fmla="*/ 2322726 w 10375356"/>
                <a:gd name="connsiteY374" fmla="*/ 2988941 h 10394676"/>
                <a:gd name="connsiteX375" fmla="*/ 2057761 w 10375356"/>
                <a:gd name="connsiteY375" fmla="*/ 2723975 h 10394676"/>
                <a:gd name="connsiteX376" fmla="*/ 2322726 w 10375356"/>
                <a:gd name="connsiteY376" fmla="*/ 2459009 h 10394676"/>
                <a:gd name="connsiteX377" fmla="*/ 7842360 w 10375356"/>
                <a:gd name="connsiteY377" fmla="*/ 1848825 h 10394676"/>
                <a:gd name="connsiteX378" fmla="*/ 8353182 w 10375356"/>
                <a:gd name="connsiteY378" fmla="*/ 1848825 h 10394676"/>
                <a:gd name="connsiteX379" fmla="*/ 8353182 w 10375356"/>
                <a:gd name="connsiteY379" fmla="*/ 1950733 h 10394676"/>
                <a:gd name="connsiteX380" fmla="*/ 7842360 w 10375356"/>
                <a:gd name="connsiteY380" fmla="*/ 1950733 h 10394676"/>
                <a:gd name="connsiteX381" fmla="*/ 6223404 w 10375356"/>
                <a:gd name="connsiteY381" fmla="*/ 1848825 h 10394676"/>
                <a:gd name="connsiteX382" fmla="*/ 6704792 w 10375356"/>
                <a:gd name="connsiteY382" fmla="*/ 1848825 h 10394676"/>
                <a:gd name="connsiteX383" fmla="*/ 6704792 w 10375356"/>
                <a:gd name="connsiteY383" fmla="*/ 1950733 h 10394676"/>
                <a:gd name="connsiteX384" fmla="*/ 6512646 w 10375356"/>
                <a:gd name="connsiteY384" fmla="*/ 1950733 h 10394676"/>
                <a:gd name="connsiteX385" fmla="*/ 6413573 w 10375356"/>
                <a:gd name="connsiteY385" fmla="*/ 1911670 h 10394676"/>
                <a:gd name="connsiteX386" fmla="*/ 6251001 w 10375356"/>
                <a:gd name="connsiteY386" fmla="*/ 1856662 h 10394676"/>
                <a:gd name="connsiteX387" fmla="*/ 2890884 w 10375356"/>
                <a:gd name="connsiteY387" fmla="*/ 1848825 h 10394676"/>
                <a:gd name="connsiteX388" fmla="*/ 3401707 w 10375356"/>
                <a:gd name="connsiteY388" fmla="*/ 1848825 h 10394676"/>
                <a:gd name="connsiteX389" fmla="*/ 3401707 w 10375356"/>
                <a:gd name="connsiteY389" fmla="*/ 1950733 h 10394676"/>
                <a:gd name="connsiteX390" fmla="*/ 2890884 w 10375356"/>
                <a:gd name="connsiteY390" fmla="*/ 1950733 h 10394676"/>
                <a:gd name="connsiteX391" fmla="*/ 1242493 w 10375356"/>
                <a:gd name="connsiteY391" fmla="*/ 1848825 h 10394676"/>
                <a:gd name="connsiteX392" fmla="*/ 1753316 w 10375356"/>
                <a:gd name="connsiteY392" fmla="*/ 1848825 h 10394676"/>
                <a:gd name="connsiteX393" fmla="*/ 1753316 w 10375356"/>
                <a:gd name="connsiteY393" fmla="*/ 1950733 h 10394676"/>
                <a:gd name="connsiteX394" fmla="*/ 1242493 w 10375356"/>
                <a:gd name="connsiteY394" fmla="*/ 1950733 h 10394676"/>
                <a:gd name="connsiteX395" fmla="*/ 8921331 w 10375356"/>
                <a:gd name="connsiteY395" fmla="*/ 1736725 h 10394676"/>
                <a:gd name="connsiteX396" fmla="*/ 8758275 w 10375356"/>
                <a:gd name="connsiteY396" fmla="*/ 1899781 h 10394676"/>
                <a:gd name="connsiteX397" fmla="*/ 8921331 w 10375356"/>
                <a:gd name="connsiteY397" fmla="*/ 2062835 h 10394676"/>
                <a:gd name="connsiteX398" fmla="*/ 9084386 w 10375356"/>
                <a:gd name="connsiteY398" fmla="*/ 1899781 h 10394676"/>
                <a:gd name="connsiteX399" fmla="*/ 8921331 w 10375356"/>
                <a:gd name="connsiteY399" fmla="*/ 1736725 h 10394676"/>
                <a:gd name="connsiteX400" fmla="*/ 7223258 w 10375356"/>
                <a:gd name="connsiteY400" fmla="*/ 1643731 h 10394676"/>
                <a:gd name="connsiteX401" fmla="*/ 7325168 w 10375356"/>
                <a:gd name="connsiteY401" fmla="*/ 1643731 h 10394676"/>
                <a:gd name="connsiteX402" fmla="*/ 7325168 w 10375356"/>
                <a:gd name="connsiteY402" fmla="*/ 2154553 h 10394676"/>
                <a:gd name="connsiteX403" fmla="*/ 7223258 w 10375356"/>
                <a:gd name="connsiteY403" fmla="*/ 2154553 h 10394676"/>
                <a:gd name="connsiteX404" fmla="*/ 2271782 w 10375356"/>
                <a:gd name="connsiteY404" fmla="*/ 1643731 h 10394676"/>
                <a:gd name="connsiteX405" fmla="*/ 2373691 w 10375356"/>
                <a:gd name="connsiteY405" fmla="*/ 1643731 h 10394676"/>
                <a:gd name="connsiteX406" fmla="*/ 2373691 w 10375356"/>
                <a:gd name="connsiteY406" fmla="*/ 2154553 h 10394676"/>
                <a:gd name="connsiteX407" fmla="*/ 2271782 w 10375356"/>
                <a:gd name="connsiteY407" fmla="*/ 2154553 h 10394676"/>
                <a:gd name="connsiteX408" fmla="*/ 8921331 w 10375356"/>
                <a:gd name="connsiteY408" fmla="*/ 1634813 h 10394676"/>
                <a:gd name="connsiteX409" fmla="*/ 9024534 w 10375356"/>
                <a:gd name="connsiteY409" fmla="*/ 1655614 h 10394676"/>
                <a:gd name="connsiteX410" fmla="*/ 9036119 w 10375356"/>
                <a:gd name="connsiteY410" fmla="*/ 1661896 h 10394676"/>
                <a:gd name="connsiteX411" fmla="*/ 9067478 w 10375356"/>
                <a:gd name="connsiteY411" fmla="*/ 1694788 h 10394676"/>
                <a:gd name="connsiteX412" fmla="*/ 9168482 w 10375356"/>
                <a:gd name="connsiteY412" fmla="*/ 1811390 h 10394676"/>
                <a:gd name="connsiteX413" fmla="*/ 9186296 w 10375356"/>
                <a:gd name="connsiteY413" fmla="*/ 1899781 h 10394676"/>
                <a:gd name="connsiteX414" fmla="*/ 8921331 w 10375356"/>
                <a:gd name="connsiteY414" fmla="*/ 2164745 h 10394676"/>
                <a:gd name="connsiteX415" fmla="*/ 8656365 w 10375356"/>
                <a:gd name="connsiteY415" fmla="*/ 1899781 h 10394676"/>
                <a:gd name="connsiteX416" fmla="*/ 8921331 w 10375356"/>
                <a:gd name="connsiteY416" fmla="*/ 1634813 h 10394676"/>
                <a:gd name="connsiteX417" fmla="*/ 3969851 w 10375356"/>
                <a:gd name="connsiteY417" fmla="*/ 1634813 h 10394676"/>
                <a:gd name="connsiteX418" fmla="*/ 4214017 w 10375356"/>
                <a:gd name="connsiteY418" fmla="*/ 1796577 h 10394676"/>
                <a:gd name="connsiteX419" fmla="*/ 4223093 w 10375356"/>
                <a:gd name="connsiteY419" fmla="*/ 1841608 h 10394676"/>
                <a:gd name="connsiteX420" fmla="*/ 4170081 w 10375356"/>
                <a:gd name="connsiteY420" fmla="*/ 1856662 h 10394676"/>
                <a:gd name="connsiteX421" fmla="*/ 4127174 w 10375356"/>
                <a:gd name="connsiteY421" fmla="*/ 1871180 h 10394676"/>
                <a:gd name="connsiteX422" fmla="*/ 4120150 w 10375356"/>
                <a:gd name="connsiteY422" fmla="*/ 1836147 h 10394676"/>
                <a:gd name="connsiteX423" fmla="*/ 3969851 w 10375356"/>
                <a:gd name="connsiteY423" fmla="*/ 1736725 h 10394676"/>
                <a:gd name="connsiteX424" fmla="*/ 3806796 w 10375356"/>
                <a:gd name="connsiteY424" fmla="*/ 1899781 h 10394676"/>
                <a:gd name="connsiteX425" fmla="*/ 3819555 w 10375356"/>
                <a:gd name="connsiteY425" fmla="*/ 1963414 h 10394676"/>
                <a:gd name="connsiteX426" fmla="*/ 3832208 w 10375356"/>
                <a:gd name="connsiteY426" fmla="*/ 1982224 h 10394676"/>
                <a:gd name="connsiteX427" fmla="*/ 3741230 w 10375356"/>
                <a:gd name="connsiteY427" fmla="*/ 2026051 h 10394676"/>
                <a:gd name="connsiteX428" fmla="*/ 3725686 w 10375356"/>
                <a:gd name="connsiteY428" fmla="*/ 2002984 h 10394676"/>
                <a:gd name="connsiteX429" fmla="*/ 3704886 w 10375356"/>
                <a:gd name="connsiteY429" fmla="*/ 1899781 h 10394676"/>
                <a:gd name="connsiteX430" fmla="*/ 3969851 w 10375356"/>
                <a:gd name="connsiteY430" fmla="*/ 1634813 h 10394676"/>
                <a:gd name="connsiteX431" fmla="*/ 7842360 w 10375356"/>
                <a:gd name="connsiteY431" fmla="*/ 1024629 h 10394676"/>
                <a:gd name="connsiteX432" fmla="*/ 8330359 w 10375356"/>
                <a:gd name="connsiteY432" fmla="*/ 1024629 h 10394676"/>
                <a:gd name="connsiteX433" fmla="*/ 8353182 w 10375356"/>
                <a:gd name="connsiteY433" fmla="*/ 1042565 h 10394676"/>
                <a:gd name="connsiteX434" fmla="*/ 8353182 w 10375356"/>
                <a:gd name="connsiteY434" fmla="*/ 1126539 h 10394676"/>
                <a:gd name="connsiteX435" fmla="*/ 7842360 w 10375356"/>
                <a:gd name="connsiteY435" fmla="*/ 1126539 h 10394676"/>
                <a:gd name="connsiteX436" fmla="*/ 5371048 w 10375356"/>
                <a:gd name="connsiteY436" fmla="*/ 1024629 h 10394676"/>
                <a:gd name="connsiteX437" fmla="*/ 5881870 w 10375356"/>
                <a:gd name="connsiteY437" fmla="*/ 1024629 h 10394676"/>
                <a:gd name="connsiteX438" fmla="*/ 5881870 w 10375356"/>
                <a:gd name="connsiteY438" fmla="*/ 1126539 h 10394676"/>
                <a:gd name="connsiteX439" fmla="*/ 5371048 w 10375356"/>
                <a:gd name="connsiteY439" fmla="*/ 1126539 h 10394676"/>
                <a:gd name="connsiteX440" fmla="*/ 4538001 w 10375356"/>
                <a:gd name="connsiteY440" fmla="*/ 1024629 h 10394676"/>
                <a:gd name="connsiteX441" fmla="*/ 5048825 w 10375356"/>
                <a:gd name="connsiteY441" fmla="*/ 1024629 h 10394676"/>
                <a:gd name="connsiteX442" fmla="*/ 5048825 w 10375356"/>
                <a:gd name="connsiteY442" fmla="*/ 1126539 h 10394676"/>
                <a:gd name="connsiteX443" fmla="*/ 4538001 w 10375356"/>
                <a:gd name="connsiteY443" fmla="*/ 1126539 h 10394676"/>
                <a:gd name="connsiteX444" fmla="*/ 2890886 w 10375356"/>
                <a:gd name="connsiteY444" fmla="*/ 1024629 h 10394676"/>
                <a:gd name="connsiteX445" fmla="*/ 3401709 w 10375356"/>
                <a:gd name="connsiteY445" fmla="*/ 1024629 h 10394676"/>
                <a:gd name="connsiteX446" fmla="*/ 3401709 w 10375356"/>
                <a:gd name="connsiteY446" fmla="*/ 1126539 h 10394676"/>
                <a:gd name="connsiteX447" fmla="*/ 2890886 w 10375356"/>
                <a:gd name="connsiteY447" fmla="*/ 1126539 h 10394676"/>
                <a:gd name="connsiteX448" fmla="*/ 6450017 w 10375356"/>
                <a:gd name="connsiteY448" fmla="*/ 912529 h 10394676"/>
                <a:gd name="connsiteX449" fmla="*/ 6286962 w 10375356"/>
                <a:gd name="connsiteY449" fmla="*/ 1075585 h 10394676"/>
                <a:gd name="connsiteX450" fmla="*/ 6450017 w 10375356"/>
                <a:gd name="connsiteY450" fmla="*/ 1238639 h 10394676"/>
                <a:gd name="connsiteX451" fmla="*/ 6613073 w 10375356"/>
                <a:gd name="connsiteY451" fmla="*/ 1075585 h 10394676"/>
                <a:gd name="connsiteX452" fmla="*/ 6450017 w 10375356"/>
                <a:gd name="connsiteY452" fmla="*/ 912529 h 10394676"/>
                <a:gd name="connsiteX453" fmla="*/ 2373692 w 10375356"/>
                <a:gd name="connsiteY453" fmla="*/ 828587 h 10394676"/>
                <a:gd name="connsiteX454" fmla="*/ 2373692 w 10375356"/>
                <a:gd name="connsiteY454" fmla="*/ 1331633 h 10394676"/>
                <a:gd name="connsiteX455" fmla="*/ 2271782 w 10375356"/>
                <a:gd name="connsiteY455" fmla="*/ 1331633 h 10394676"/>
                <a:gd name="connsiteX456" fmla="*/ 2271782 w 10375356"/>
                <a:gd name="connsiteY456" fmla="*/ 895706 h 10394676"/>
                <a:gd name="connsiteX457" fmla="*/ 2297278 w 10375356"/>
                <a:gd name="connsiteY457" fmla="*/ 877575 h 10394676"/>
                <a:gd name="connsiteX458" fmla="*/ 7223258 w 10375356"/>
                <a:gd name="connsiteY458" fmla="*/ 820809 h 10394676"/>
                <a:gd name="connsiteX459" fmla="*/ 7325168 w 10375356"/>
                <a:gd name="connsiteY459" fmla="*/ 820809 h 10394676"/>
                <a:gd name="connsiteX460" fmla="*/ 7325168 w 10375356"/>
                <a:gd name="connsiteY460" fmla="*/ 1331633 h 10394676"/>
                <a:gd name="connsiteX461" fmla="*/ 7223258 w 10375356"/>
                <a:gd name="connsiteY461" fmla="*/ 1331633 h 10394676"/>
                <a:gd name="connsiteX462" fmla="*/ 3918899 w 10375356"/>
                <a:gd name="connsiteY462" fmla="*/ 820809 h 10394676"/>
                <a:gd name="connsiteX463" fmla="*/ 4020808 w 10375356"/>
                <a:gd name="connsiteY463" fmla="*/ 820809 h 10394676"/>
                <a:gd name="connsiteX464" fmla="*/ 4020808 w 10375356"/>
                <a:gd name="connsiteY464" fmla="*/ 1331633 h 10394676"/>
                <a:gd name="connsiteX465" fmla="*/ 3918899 w 10375356"/>
                <a:gd name="connsiteY465" fmla="*/ 1331633 h 10394676"/>
                <a:gd name="connsiteX466" fmla="*/ 6451292 w 10375356"/>
                <a:gd name="connsiteY466" fmla="*/ 810617 h 10394676"/>
                <a:gd name="connsiteX467" fmla="*/ 6716257 w 10375356"/>
                <a:gd name="connsiteY467" fmla="*/ 1075585 h 10394676"/>
                <a:gd name="connsiteX468" fmla="*/ 6451292 w 10375356"/>
                <a:gd name="connsiteY468" fmla="*/ 1340549 h 10394676"/>
                <a:gd name="connsiteX469" fmla="*/ 6186326 w 10375356"/>
                <a:gd name="connsiteY469" fmla="*/ 1075585 h 10394676"/>
                <a:gd name="connsiteX470" fmla="*/ 6451292 w 10375356"/>
                <a:gd name="connsiteY470" fmla="*/ 810617 h 10394676"/>
                <a:gd name="connsiteX471" fmla="*/ 6399063 w 10375356"/>
                <a:gd name="connsiteY471" fmla="*/ 125503 h 10394676"/>
                <a:gd name="connsiteX472" fmla="*/ 6500973 w 10375356"/>
                <a:gd name="connsiteY472" fmla="*/ 149024 h 10394676"/>
                <a:gd name="connsiteX473" fmla="*/ 6500973 w 10375356"/>
                <a:gd name="connsiteY473" fmla="*/ 508711 h 10394676"/>
                <a:gd name="connsiteX474" fmla="*/ 6399063 w 10375356"/>
                <a:gd name="connsiteY474" fmla="*/ 508711 h 10394676"/>
                <a:gd name="connsiteX475" fmla="*/ 4743094 w 10375356"/>
                <a:gd name="connsiteY475" fmla="*/ 101073 h 10394676"/>
                <a:gd name="connsiteX476" fmla="*/ 4845004 w 10375356"/>
                <a:gd name="connsiteY476" fmla="*/ 101073 h 10394676"/>
                <a:gd name="connsiteX477" fmla="*/ 4845004 w 10375356"/>
                <a:gd name="connsiteY477" fmla="*/ 508711 h 10394676"/>
                <a:gd name="connsiteX478" fmla="*/ 4743094 w 10375356"/>
                <a:gd name="connsiteY478" fmla="*/ 508711 h 10394676"/>
                <a:gd name="connsiteX479" fmla="*/ 4174642 w 10375356"/>
                <a:gd name="connsiteY479" fmla="*/ 91020 h 10394676"/>
                <a:gd name="connsiteX480" fmla="*/ 4214021 w 10375356"/>
                <a:gd name="connsiteY480" fmla="*/ 149458 h 10394676"/>
                <a:gd name="connsiteX481" fmla="*/ 4234820 w 10375356"/>
                <a:gd name="connsiteY481" fmla="*/ 252661 h 10394676"/>
                <a:gd name="connsiteX482" fmla="*/ 3969854 w 10375356"/>
                <a:gd name="connsiteY482" fmla="*/ 517629 h 10394676"/>
                <a:gd name="connsiteX483" fmla="*/ 3704889 w 10375356"/>
                <a:gd name="connsiteY483" fmla="*/ 252661 h 10394676"/>
                <a:gd name="connsiteX484" fmla="*/ 3714113 w 10375356"/>
                <a:gd name="connsiteY484" fmla="*/ 206895 h 10394676"/>
                <a:gd name="connsiteX485" fmla="*/ 3829928 w 10375356"/>
                <a:gd name="connsiteY485" fmla="*/ 174007 h 10394676"/>
                <a:gd name="connsiteX486" fmla="*/ 3819737 w 10375356"/>
                <a:gd name="connsiteY486" fmla="*/ 189028 h 10394676"/>
                <a:gd name="connsiteX487" fmla="*/ 3806799 w 10375356"/>
                <a:gd name="connsiteY487" fmla="*/ 252661 h 10394676"/>
                <a:gd name="connsiteX488" fmla="*/ 3969854 w 10375356"/>
                <a:gd name="connsiteY488" fmla="*/ 415717 h 10394676"/>
                <a:gd name="connsiteX489" fmla="*/ 4132911 w 10375356"/>
                <a:gd name="connsiteY489" fmla="*/ 252661 h 10394676"/>
                <a:gd name="connsiteX490" fmla="*/ 4085300 w 10375356"/>
                <a:gd name="connsiteY490" fmla="*/ 137218 h 10394676"/>
                <a:gd name="connsiteX491" fmla="*/ 4056168 w 10375356"/>
                <a:gd name="connsiteY491" fmla="*/ 117622 h 10394676"/>
                <a:gd name="connsiteX492" fmla="*/ 4160436 w 10375356"/>
                <a:gd name="connsiteY492" fmla="*/ 93557 h 10394676"/>
                <a:gd name="connsiteX493" fmla="*/ 5625822 w 10375356"/>
                <a:gd name="connsiteY493" fmla="*/ 89607 h 10394676"/>
                <a:gd name="connsiteX494" fmla="*/ 5462766 w 10375356"/>
                <a:gd name="connsiteY494" fmla="*/ 252661 h 10394676"/>
                <a:gd name="connsiteX495" fmla="*/ 5625822 w 10375356"/>
                <a:gd name="connsiteY495" fmla="*/ 415717 h 10394676"/>
                <a:gd name="connsiteX496" fmla="*/ 5788878 w 10375356"/>
                <a:gd name="connsiteY496" fmla="*/ 252661 h 10394676"/>
                <a:gd name="connsiteX497" fmla="*/ 5625822 w 10375356"/>
                <a:gd name="connsiteY497" fmla="*/ 89607 h 10394676"/>
                <a:gd name="connsiteX498" fmla="*/ 5551305 w 10375356"/>
                <a:gd name="connsiteY498" fmla="*/ 0 h 10394676"/>
                <a:gd name="connsiteX499" fmla="*/ 5741268 w 10375356"/>
                <a:gd name="connsiteY499" fmla="*/ 14445 h 10394676"/>
                <a:gd name="connsiteX500" fmla="*/ 5775311 w 10375356"/>
                <a:gd name="connsiteY500" fmla="*/ 32907 h 10394676"/>
                <a:gd name="connsiteX501" fmla="*/ 5892062 w 10375356"/>
                <a:gd name="connsiteY501" fmla="*/ 252661 h 10394676"/>
                <a:gd name="connsiteX502" fmla="*/ 5627096 w 10375356"/>
                <a:gd name="connsiteY502" fmla="*/ 517629 h 10394676"/>
                <a:gd name="connsiteX503" fmla="*/ 5362131 w 10375356"/>
                <a:gd name="connsiteY503" fmla="*/ 252661 h 10394676"/>
                <a:gd name="connsiteX504" fmla="*/ 5523893 w 10375356"/>
                <a:gd name="connsiteY504" fmla="*/ 8497 h 1039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</a:cxnLst>
              <a:rect l="l" t="t" r="r" b="b"/>
              <a:pathLst>
                <a:path w="10375356" h="10394676">
                  <a:moveTo>
                    <a:pt x="6202887" y="10086957"/>
                  </a:moveTo>
                  <a:lnTo>
                    <a:pt x="6713710" y="10086957"/>
                  </a:lnTo>
                  <a:lnTo>
                    <a:pt x="6713710" y="10187665"/>
                  </a:lnTo>
                  <a:lnTo>
                    <a:pt x="6709472" y="10188869"/>
                  </a:lnTo>
                  <a:lnTo>
                    <a:pt x="6202887" y="10188869"/>
                  </a:lnTo>
                  <a:close/>
                  <a:moveTo>
                    <a:pt x="5634740" y="9974857"/>
                  </a:moveTo>
                  <a:cubicBezTo>
                    <a:pt x="5544295" y="9974857"/>
                    <a:pt x="5471684" y="10047469"/>
                    <a:pt x="5471684" y="10137913"/>
                  </a:cubicBezTo>
                  <a:cubicBezTo>
                    <a:pt x="5471684" y="10228357"/>
                    <a:pt x="5544295" y="10300969"/>
                    <a:pt x="5634740" y="10300969"/>
                  </a:cubicBezTo>
                  <a:cubicBezTo>
                    <a:pt x="5725185" y="10299693"/>
                    <a:pt x="5797795" y="10227083"/>
                    <a:pt x="5797795" y="10137913"/>
                  </a:cubicBezTo>
                  <a:cubicBezTo>
                    <a:pt x="5797795" y="10047469"/>
                    <a:pt x="5725185" y="9974857"/>
                    <a:pt x="5634740" y="9974857"/>
                  </a:cubicBezTo>
                  <a:close/>
                  <a:moveTo>
                    <a:pt x="7232175" y="9881865"/>
                  </a:moveTo>
                  <a:lnTo>
                    <a:pt x="7334085" y="9881865"/>
                  </a:lnTo>
                  <a:lnTo>
                    <a:pt x="7334085" y="9956193"/>
                  </a:lnTo>
                  <a:lnTo>
                    <a:pt x="7238719" y="9999307"/>
                  </a:lnTo>
                  <a:lnTo>
                    <a:pt x="7232175" y="10001887"/>
                  </a:lnTo>
                  <a:close/>
                  <a:moveTo>
                    <a:pt x="4751991" y="9881865"/>
                  </a:moveTo>
                  <a:lnTo>
                    <a:pt x="4853901" y="9881865"/>
                  </a:lnTo>
                  <a:lnTo>
                    <a:pt x="4853901" y="10290777"/>
                  </a:lnTo>
                  <a:lnTo>
                    <a:pt x="4751991" y="10290777"/>
                  </a:lnTo>
                  <a:close/>
                  <a:moveTo>
                    <a:pt x="5636013" y="9872947"/>
                  </a:moveTo>
                  <a:cubicBezTo>
                    <a:pt x="5782509" y="9872947"/>
                    <a:pt x="5900978" y="9991417"/>
                    <a:pt x="5900978" y="10137913"/>
                  </a:cubicBezTo>
                  <a:cubicBezTo>
                    <a:pt x="5900978" y="10247785"/>
                    <a:pt x="5834339" y="10341891"/>
                    <a:pt x="5739217" y="10382077"/>
                  </a:cubicBezTo>
                  <a:lnTo>
                    <a:pt x="5738756" y="10382220"/>
                  </a:lnTo>
                  <a:lnTo>
                    <a:pt x="5574951" y="10394676"/>
                  </a:lnTo>
                  <a:lnTo>
                    <a:pt x="5532810" y="10381361"/>
                  </a:lnTo>
                  <a:cubicBezTo>
                    <a:pt x="5437688" y="10340697"/>
                    <a:pt x="5371048" y="10246828"/>
                    <a:pt x="5371048" y="10137913"/>
                  </a:cubicBezTo>
                  <a:cubicBezTo>
                    <a:pt x="5371048" y="9991417"/>
                    <a:pt x="5489518" y="9872947"/>
                    <a:pt x="5636013" y="9872947"/>
                  </a:cubicBezTo>
                  <a:close/>
                  <a:moveTo>
                    <a:pt x="3978752" y="9872947"/>
                  </a:moveTo>
                  <a:cubicBezTo>
                    <a:pt x="4125249" y="9872947"/>
                    <a:pt x="4243718" y="9991417"/>
                    <a:pt x="4243718" y="10137913"/>
                  </a:cubicBezTo>
                  <a:cubicBezTo>
                    <a:pt x="4243718" y="10174537"/>
                    <a:pt x="4236314" y="10209409"/>
                    <a:pt x="4222918" y="10241117"/>
                  </a:cubicBezTo>
                  <a:lnTo>
                    <a:pt x="4179036" y="10306239"/>
                  </a:lnTo>
                  <a:lnTo>
                    <a:pt x="4160436" y="10302917"/>
                  </a:lnTo>
                  <a:lnTo>
                    <a:pt x="4056265" y="10278875"/>
                  </a:lnTo>
                  <a:lnTo>
                    <a:pt x="4094199" y="10253357"/>
                  </a:lnTo>
                  <a:cubicBezTo>
                    <a:pt x="4123657" y="10223899"/>
                    <a:pt x="4141809" y="10183135"/>
                    <a:pt x="4141809" y="10137913"/>
                  </a:cubicBezTo>
                  <a:cubicBezTo>
                    <a:pt x="4141809" y="10047469"/>
                    <a:pt x="4069199" y="9974857"/>
                    <a:pt x="3978752" y="9974857"/>
                  </a:cubicBezTo>
                  <a:cubicBezTo>
                    <a:pt x="3889581" y="9974857"/>
                    <a:pt x="3815698" y="10047469"/>
                    <a:pt x="3815698" y="10137913"/>
                  </a:cubicBezTo>
                  <a:cubicBezTo>
                    <a:pt x="3815698" y="10160524"/>
                    <a:pt x="3820237" y="10182021"/>
                    <a:pt x="3828457" y="10201547"/>
                  </a:cubicBezTo>
                  <a:lnTo>
                    <a:pt x="3845505" y="10226891"/>
                  </a:lnTo>
                  <a:lnTo>
                    <a:pt x="3724813" y="10192618"/>
                  </a:lnTo>
                  <a:lnTo>
                    <a:pt x="3713787" y="10137913"/>
                  </a:lnTo>
                  <a:cubicBezTo>
                    <a:pt x="3713787" y="9991417"/>
                    <a:pt x="3832257" y="9872947"/>
                    <a:pt x="3978752" y="9872947"/>
                  </a:cubicBezTo>
                  <a:close/>
                  <a:moveTo>
                    <a:pt x="3155832" y="9872947"/>
                  </a:moveTo>
                  <a:cubicBezTo>
                    <a:pt x="3265704" y="9872947"/>
                    <a:pt x="3359812" y="9939586"/>
                    <a:pt x="3399999" y="10034709"/>
                  </a:cubicBezTo>
                  <a:lnTo>
                    <a:pt x="3411035" y="10089469"/>
                  </a:lnTo>
                  <a:lnTo>
                    <a:pt x="3280434" y="10037975"/>
                  </a:lnTo>
                  <a:lnTo>
                    <a:pt x="3270003" y="10022469"/>
                  </a:lnTo>
                  <a:cubicBezTo>
                    <a:pt x="3240545" y="9993010"/>
                    <a:pt x="3199781" y="9974857"/>
                    <a:pt x="3154558" y="9974857"/>
                  </a:cubicBezTo>
                  <a:lnTo>
                    <a:pt x="3136355" y="9978507"/>
                  </a:lnTo>
                  <a:lnTo>
                    <a:pt x="3005935" y="9919545"/>
                  </a:lnTo>
                  <a:lnTo>
                    <a:pt x="3007618" y="9918157"/>
                  </a:lnTo>
                  <a:cubicBezTo>
                    <a:pt x="3049902" y="9889607"/>
                    <a:pt x="3100897" y="9872947"/>
                    <a:pt x="3155832" y="9872947"/>
                  </a:cubicBezTo>
                  <a:close/>
                  <a:moveTo>
                    <a:pt x="7851277" y="9262761"/>
                  </a:moveTo>
                  <a:lnTo>
                    <a:pt x="8362099" y="9262761"/>
                  </a:lnTo>
                  <a:lnTo>
                    <a:pt x="8362099" y="9346902"/>
                  </a:lnTo>
                  <a:lnTo>
                    <a:pt x="8339488" y="9364671"/>
                  </a:lnTo>
                  <a:lnTo>
                    <a:pt x="7851277" y="9364671"/>
                  </a:lnTo>
                  <a:close/>
                  <a:moveTo>
                    <a:pt x="5379965" y="9262761"/>
                  </a:moveTo>
                  <a:lnTo>
                    <a:pt x="5890787" y="9262761"/>
                  </a:lnTo>
                  <a:lnTo>
                    <a:pt x="5890787" y="9364671"/>
                  </a:lnTo>
                  <a:lnTo>
                    <a:pt x="5379965" y="9364671"/>
                  </a:lnTo>
                  <a:close/>
                  <a:moveTo>
                    <a:pt x="4546902" y="9262761"/>
                  </a:moveTo>
                  <a:lnTo>
                    <a:pt x="5057725" y="9262761"/>
                  </a:lnTo>
                  <a:lnTo>
                    <a:pt x="5057725" y="9364671"/>
                  </a:lnTo>
                  <a:lnTo>
                    <a:pt x="4546902" y="9364671"/>
                  </a:lnTo>
                  <a:close/>
                  <a:moveTo>
                    <a:pt x="2899787" y="9262761"/>
                  </a:moveTo>
                  <a:lnTo>
                    <a:pt x="3410609" y="9262761"/>
                  </a:lnTo>
                  <a:lnTo>
                    <a:pt x="3410609" y="9364671"/>
                  </a:lnTo>
                  <a:lnTo>
                    <a:pt x="2899787" y="9364671"/>
                  </a:lnTo>
                  <a:close/>
                  <a:moveTo>
                    <a:pt x="6450017" y="9150661"/>
                  </a:moveTo>
                  <a:cubicBezTo>
                    <a:pt x="6359572" y="9150661"/>
                    <a:pt x="6286962" y="9223273"/>
                    <a:pt x="6286962" y="9313717"/>
                  </a:cubicBezTo>
                  <a:cubicBezTo>
                    <a:pt x="6286962" y="9404161"/>
                    <a:pt x="6359572" y="9476773"/>
                    <a:pt x="6450017" y="9476773"/>
                  </a:cubicBezTo>
                  <a:cubicBezTo>
                    <a:pt x="6540463" y="9476773"/>
                    <a:pt x="6613073" y="9404161"/>
                    <a:pt x="6613073" y="9313717"/>
                  </a:cubicBezTo>
                  <a:cubicBezTo>
                    <a:pt x="6613073" y="9223273"/>
                    <a:pt x="6540463" y="9150661"/>
                    <a:pt x="6450017" y="9150661"/>
                  </a:cubicBezTo>
                  <a:close/>
                  <a:moveTo>
                    <a:pt x="3978754" y="9150661"/>
                  </a:moveTo>
                  <a:cubicBezTo>
                    <a:pt x="3889583" y="9150661"/>
                    <a:pt x="3815700" y="9223273"/>
                    <a:pt x="3815700" y="9313717"/>
                  </a:cubicBezTo>
                  <a:cubicBezTo>
                    <a:pt x="3815700" y="9404161"/>
                    <a:pt x="3888310" y="9476773"/>
                    <a:pt x="3978754" y="9476773"/>
                  </a:cubicBezTo>
                  <a:cubicBezTo>
                    <a:pt x="4069201" y="9476773"/>
                    <a:pt x="4141811" y="9404161"/>
                    <a:pt x="4141811" y="9313717"/>
                  </a:cubicBezTo>
                  <a:cubicBezTo>
                    <a:pt x="4141811" y="9223273"/>
                    <a:pt x="4069201" y="9150661"/>
                    <a:pt x="3978754" y="9150661"/>
                  </a:cubicBezTo>
                  <a:close/>
                  <a:moveTo>
                    <a:pt x="7232175" y="9057669"/>
                  </a:moveTo>
                  <a:lnTo>
                    <a:pt x="7334085" y="9057669"/>
                  </a:lnTo>
                  <a:lnTo>
                    <a:pt x="7334085" y="9568493"/>
                  </a:lnTo>
                  <a:lnTo>
                    <a:pt x="7232175" y="9568493"/>
                  </a:lnTo>
                  <a:close/>
                  <a:moveTo>
                    <a:pt x="2280685" y="9057669"/>
                  </a:moveTo>
                  <a:lnTo>
                    <a:pt x="2382595" y="9057669"/>
                  </a:lnTo>
                  <a:lnTo>
                    <a:pt x="2382595" y="9568493"/>
                  </a:lnTo>
                  <a:lnTo>
                    <a:pt x="2374638" y="9568493"/>
                  </a:lnTo>
                  <a:lnTo>
                    <a:pt x="2297278" y="9518899"/>
                  </a:lnTo>
                  <a:lnTo>
                    <a:pt x="2280685" y="9507099"/>
                  </a:lnTo>
                  <a:close/>
                  <a:moveTo>
                    <a:pt x="6450017" y="9048751"/>
                  </a:moveTo>
                  <a:cubicBezTo>
                    <a:pt x="6596513" y="9048751"/>
                    <a:pt x="6714982" y="9167221"/>
                    <a:pt x="6714982" y="9313717"/>
                  </a:cubicBezTo>
                  <a:cubicBezTo>
                    <a:pt x="6714982" y="9460213"/>
                    <a:pt x="6596513" y="9578681"/>
                    <a:pt x="6450017" y="9578681"/>
                  </a:cubicBezTo>
                  <a:cubicBezTo>
                    <a:pt x="6303522" y="9578681"/>
                    <a:pt x="6185052" y="9460213"/>
                    <a:pt x="6185052" y="9313717"/>
                  </a:cubicBezTo>
                  <a:cubicBezTo>
                    <a:pt x="6185052" y="9167221"/>
                    <a:pt x="6303522" y="9048751"/>
                    <a:pt x="6450017" y="9048751"/>
                  </a:cubicBezTo>
                  <a:close/>
                  <a:moveTo>
                    <a:pt x="3978754" y="9048751"/>
                  </a:moveTo>
                  <a:cubicBezTo>
                    <a:pt x="4125250" y="9048751"/>
                    <a:pt x="4243720" y="9167221"/>
                    <a:pt x="4243720" y="9313717"/>
                  </a:cubicBezTo>
                  <a:cubicBezTo>
                    <a:pt x="4243720" y="9460213"/>
                    <a:pt x="4125250" y="9578681"/>
                    <a:pt x="3978754" y="9578681"/>
                  </a:cubicBezTo>
                  <a:cubicBezTo>
                    <a:pt x="3832260" y="9578681"/>
                    <a:pt x="3713789" y="9460213"/>
                    <a:pt x="3713789" y="9313717"/>
                  </a:cubicBezTo>
                  <a:cubicBezTo>
                    <a:pt x="3713789" y="9167221"/>
                    <a:pt x="3832260" y="9048751"/>
                    <a:pt x="3978754" y="9048751"/>
                  </a:cubicBezTo>
                  <a:close/>
                  <a:moveTo>
                    <a:pt x="5676776" y="8665264"/>
                  </a:moveTo>
                  <a:lnTo>
                    <a:pt x="5676776" y="8745569"/>
                  </a:lnTo>
                  <a:lnTo>
                    <a:pt x="5574867" y="8745569"/>
                  </a:lnTo>
                  <a:lnTo>
                    <a:pt x="5574867" y="8678214"/>
                  </a:lnTo>
                  <a:close/>
                  <a:moveTo>
                    <a:pt x="3918880" y="8449859"/>
                  </a:moveTo>
                  <a:lnTo>
                    <a:pt x="4007509" y="8484804"/>
                  </a:lnTo>
                  <a:lnTo>
                    <a:pt x="4020789" y="8489298"/>
                  </a:lnTo>
                  <a:lnTo>
                    <a:pt x="4020789" y="8745569"/>
                  </a:lnTo>
                  <a:lnTo>
                    <a:pt x="3918880" y="8745569"/>
                  </a:lnTo>
                  <a:close/>
                  <a:moveTo>
                    <a:pt x="7018165" y="8438567"/>
                  </a:moveTo>
                  <a:lnTo>
                    <a:pt x="7528988" y="8438567"/>
                  </a:lnTo>
                  <a:lnTo>
                    <a:pt x="7528988" y="8540477"/>
                  </a:lnTo>
                  <a:lnTo>
                    <a:pt x="7018165" y="8540477"/>
                  </a:lnTo>
                  <a:close/>
                  <a:moveTo>
                    <a:pt x="6530840" y="8438567"/>
                  </a:moveTo>
                  <a:lnTo>
                    <a:pt x="6697148" y="8438567"/>
                  </a:lnTo>
                  <a:lnTo>
                    <a:pt x="6697148" y="8540477"/>
                  </a:lnTo>
                  <a:lnTo>
                    <a:pt x="6248661" y="8540477"/>
                  </a:lnTo>
                  <a:lnTo>
                    <a:pt x="6251001" y="8539813"/>
                  </a:lnTo>
                  <a:cubicBezTo>
                    <a:pt x="6305781" y="8522774"/>
                    <a:pt x="6359984" y="8504426"/>
                    <a:pt x="6413573" y="8484804"/>
                  </a:cubicBezTo>
                  <a:close/>
                  <a:moveTo>
                    <a:pt x="2066673" y="8438567"/>
                  </a:moveTo>
                  <a:lnTo>
                    <a:pt x="2577496" y="8438567"/>
                  </a:lnTo>
                  <a:lnTo>
                    <a:pt x="2577496" y="8540477"/>
                  </a:lnTo>
                  <a:lnTo>
                    <a:pt x="2066673" y="8540477"/>
                  </a:lnTo>
                  <a:close/>
                  <a:moveTo>
                    <a:pt x="1234837" y="8438567"/>
                  </a:moveTo>
                  <a:lnTo>
                    <a:pt x="1745660" y="8438567"/>
                  </a:lnTo>
                  <a:lnTo>
                    <a:pt x="1745660" y="8540477"/>
                  </a:lnTo>
                  <a:lnTo>
                    <a:pt x="1234837" y="8540477"/>
                  </a:lnTo>
                  <a:close/>
                  <a:moveTo>
                    <a:pt x="8870376" y="8234747"/>
                  </a:moveTo>
                  <a:lnTo>
                    <a:pt x="8972285" y="8234747"/>
                  </a:lnTo>
                  <a:lnTo>
                    <a:pt x="8972285" y="8745569"/>
                  </a:lnTo>
                  <a:lnTo>
                    <a:pt x="8870376" y="8745569"/>
                  </a:lnTo>
                  <a:close/>
                  <a:moveTo>
                    <a:pt x="8046180" y="8234747"/>
                  </a:moveTo>
                  <a:lnTo>
                    <a:pt x="8148089" y="8234747"/>
                  </a:lnTo>
                  <a:lnTo>
                    <a:pt x="8148089" y="8745569"/>
                  </a:lnTo>
                  <a:lnTo>
                    <a:pt x="8046180" y="8745569"/>
                  </a:lnTo>
                  <a:close/>
                  <a:moveTo>
                    <a:pt x="3094685" y="8234747"/>
                  </a:moveTo>
                  <a:lnTo>
                    <a:pt x="3196595" y="8234747"/>
                  </a:lnTo>
                  <a:lnTo>
                    <a:pt x="3196595" y="8745569"/>
                  </a:lnTo>
                  <a:lnTo>
                    <a:pt x="3094685" y="8745569"/>
                  </a:lnTo>
                  <a:close/>
                  <a:moveTo>
                    <a:pt x="9489477" y="7615645"/>
                  </a:moveTo>
                  <a:lnTo>
                    <a:pt x="9824110" y="7615645"/>
                  </a:lnTo>
                  <a:lnTo>
                    <a:pt x="9792198" y="7681890"/>
                  </a:lnTo>
                  <a:lnTo>
                    <a:pt x="9770531" y="7717555"/>
                  </a:lnTo>
                  <a:lnTo>
                    <a:pt x="9489477" y="7717555"/>
                  </a:lnTo>
                  <a:close/>
                  <a:moveTo>
                    <a:pt x="8666557" y="7615645"/>
                  </a:moveTo>
                  <a:lnTo>
                    <a:pt x="9177379" y="7615645"/>
                  </a:lnTo>
                  <a:lnTo>
                    <a:pt x="9177379" y="7717555"/>
                  </a:lnTo>
                  <a:lnTo>
                    <a:pt x="8666557" y="7717555"/>
                  </a:lnTo>
                  <a:close/>
                  <a:moveTo>
                    <a:pt x="2322721" y="7503545"/>
                  </a:moveTo>
                  <a:cubicBezTo>
                    <a:pt x="2232276" y="7503545"/>
                    <a:pt x="2159665" y="7576155"/>
                    <a:pt x="2159665" y="7666599"/>
                  </a:cubicBezTo>
                  <a:cubicBezTo>
                    <a:pt x="2159665" y="7757045"/>
                    <a:pt x="2232276" y="7829655"/>
                    <a:pt x="2322721" y="7829655"/>
                  </a:cubicBezTo>
                  <a:cubicBezTo>
                    <a:pt x="2411891" y="7828381"/>
                    <a:pt x="2485776" y="7755769"/>
                    <a:pt x="2485776" y="7666599"/>
                  </a:cubicBezTo>
                  <a:cubicBezTo>
                    <a:pt x="2485776" y="7576155"/>
                    <a:pt x="2413167" y="7503545"/>
                    <a:pt x="2322721" y="7503545"/>
                  </a:cubicBezTo>
                  <a:close/>
                  <a:moveTo>
                    <a:pt x="8046180" y="7410553"/>
                  </a:moveTo>
                  <a:lnTo>
                    <a:pt x="8148089" y="7410553"/>
                  </a:lnTo>
                  <a:lnTo>
                    <a:pt x="8148089" y="7921375"/>
                  </a:lnTo>
                  <a:lnTo>
                    <a:pt x="8046180" y="7921375"/>
                  </a:lnTo>
                  <a:close/>
                  <a:moveTo>
                    <a:pt x="1447573" y="7410553"/>
                  </a:moveTo>
                  <a:lnTo>
                    <a:pt x="1549483" y="7410553"/>
                  </a:lnTo>
                  <a:lnTo>
                    <a:pt x="1549483" y="7921375"/>
                  </a:lnTo>
                  <a:lnTo>
                    <a:pt x="1447573" y="7921375"/>
                  </a:lnTo>
                  <a:close/>
                  <a:moveTo>
                    <a:pt x="2322721" y="7401633"/>
                  </a:moveTo>
                  <a:cubicBezTo>
                    <a:pt x="2469216" y="7401633"/>
                    <a:pt x="2587686" y="7520105"/>
                    <a:pt x="2587686" y="7666599"/>
                  </a:cubicBezTo>
                  <a:cubicBezTo>
                    <a:pt x="2587686" y="7813095"/>
                    <a:pt x="2469216" y="7931565"/>
                    <a:pt x="2322721" y="7931565"/>
                  </a:cubicBezTo>
                  <a:cubicBezTo>
                    <a:pt x="2176225" y="7930291"/>
                    <a:pt x="2057755" y="7811821"/>
                    <a:pt x="2057755" y="7666599"/>
                  </a:cubicBezTo>
                  <a:cubicBezTo>
                    <a:pt x="2057755" y="7520105"/>
                    <a:pt x="2176225" y="7401633"/>
                    <a:pt x="2322721" y="7401633"/>
                  </a:cubicBezTo>
                  <a:close/>
                  <a:moveTo>
                    <a:pt x="674333" y="7401633"/>
                  </a:moveTo>
                  <a:cubicBezTo>
                    <a:pt x="820829" y="7401633"/>
                    <a:pt x="939299" y="7520105"/>
                    <a:pt x="939299" y="7666599"/>
                  </a:cubicBezTo>
                  <a:cubicBezTo>
                    <a:pt x="939299" y="7776471"/>
                    <a:pt x="872660" y="7870579"/>
                    <a:pt x="777537" y="7910765"/>
                  </a:cubicBezTo>
                  <a:lnTo>
                    <a:pt x="769452" y="7913271"/>
                  </a:lnTo>
                  <a:lnTo>
                    <a:pt x="713980" y="7821961"/>
                  </a:lnTo>
                  <a:lnTo>
                    <a:pt x="739241" y="7816897"/>
                  </a:lnTo>
                  <a:cubicBezTo>
                    <a:pt x="797819" y="7792235"/>
                    <a:pt x="838662" y="7734434"/>
                    <a:pt x="838662" y="7666599"/>
                  </a:cubicBezTo>
                  <a:cubicBezTo>
                    <a:pt x="838662" y="7576155"/>
                    <a:pt x="766051" y="7503545"/>
                    <a:pt x="675607" y="7503545"/>
                  </a:cubicBezTo>
                  <a:cubicBezTo>
                    <a:pt x="652996" y="7503545"/>
                    <a:pt x="631500" y="7508083"/>
                    <a:pt x="611973" y="7516304"/>
                  </a:cubicBezTo>
                  <a:lnTo>
                    <a:pt x="564501" y="7548238"/>
                  </a:lnTo>
                  <a:lnTo>
                    <a:pt x="518632" y="7453019"/>
                  </a:lnTo>
                  <a:lnTo>
                    <a:pt x="526119" y="7446844"/>
                  </a:lnTo>
                  <a:cubicBezTo>
                    <a:pt x="568403" y="7418293"/>
                    <a:pt x="619397" y="7401633"/>
                    <a:pt x="674333" y="7401633"/>
                  </a:cubicBezTo>
                  <a:close/>
                  <a:moveTo>
                    <a:pt x="8148089" y="7094869"/>
                  </a:moveTo>
                  <a:lnTo>
                    <a:pt x="8148089" y="7097179"/>
                  </a:lnTo>
                  <a:lnTo>
                    <a:pt x="8146686" y="7097179"/>
                  </a:lnTo>
                  <a:close/>
                  <a:moveTo>
                    <a:pt x="8665281" y="6791449"/>
                  </a:moveTo>
                  <a:lnTo>
                    <a:pt x="9176104" y="6791449"/>
                  </a:lnTo>
                  <a:lnTo>
                    <a:pt x="9176104" y="6893357"/>
                  </a:lnTo>
                  <a:lnTo>
                    <a:pt x="8665281" y="6893357"/>
                  </a:lnTo>
                  <a:close/>
                  <a:moveTo>
                    <a:pt x="2066681" y="6791449"/>
                  </a:moveTo>
                  <a:lnTo>
                    <a:pt x="2098040" y="6791449"/>
                  </a:lnTo>
                  <a:lnTo>
                    <a:pt x="2133958" y="6866010"/>
                  </a:lnTo>
                  <a:lnTo>
                    <a:pt x="2150572" y="6893357"/>
                  </a:lnTo>
                  <a:lnTo>
                    <a:pt x="2066681" y="6893357"/>
                  </a:lnTo>
                  <a:close/>
                  <a:moveTo>
                    <a:pt x="419562" y="6791449"/>
                  </a:moveTo>
                  <a:lnTo>
                    <a:pt x="930385" y="6791449"/>
                  </a:lnTo>
                  <a:lnTo>
                    <a:pt x="930385" y="6893357"/>
                  </a:lnTo>
                  <a:lnTo>
                    <a:pt x="419562" y="6893357"/>
                  </a:lnTo>
                  <a:close/>
                  <a:moveTo>
                    <a:pt x="9745526" y="6679349"/>
                  </a:moveTo>
                  <a:cubicBezTo>
                    <a:pt x="9655081" y="6679349"/>
                    <a:pt x="9582469" y="6751961"/>
                    <a:pt x="9582469" y="6842405"/>
                  </a:cubicBezTo>
                  <a:cubicBezTo>
                    <a:pt x="9582469" y="6932849"/>
                    <a:pt x="9655081" y="7005461"/>
                    <a:pt x="9745526" y="7005461"/>
                  </a:cubicBezTo>
                  <a:cubicBezTo>
                    <a:pt x="9835970" y="7005461"/>
                    <a:pt x="9908582" y="6932849"/>
                    <a:pt x="9908582" y="6842405"/>
                  </a:cubicBezTo>
                  <a:cubicBezTo>
                    <a:pt x="9908582" y="6751961"/>
                    <a:pt x="9835970" y="6679349"/>
                    <a:pt x="9745526" y="6679349"/>
                  </a:cubicBezTo>
                  <a:close/>
                  <a:moveTo>
                    <a:pt x="1498533" y="6679349"/>
                  </a:moveTo>
                  <a:cubicBezTo>
                    <a:pt x="1408088" y="6679349"/>
                    <a:pt x="1335477" y="6751961"/>
                    <a:pt x="1335477" y="6842405"/>
                  </a:cubicBezTo>
                  <a:cubicBezTo>
                    <a:pt x="1335477" y="6932849"/>
                    <a:pt x="1408088" y="7005461"/>
                    <a:pt x="1498533" y="7005461"/>
                  </a:cubicBezTo>
                  <a:cubicBezTo>
                    <a:pt x="1588977" y="7005461"/>
                    <a:pt x="1661588" y="6932849"/>
                    <a:pt x="1661588" y="6842405"/>
                  </a:cubicBezTo>
                  <a:cubicBezTo>
                    <a:pt x="1661588" y="6751961"/>
                    <a:pt x="1588977" y="6679349"/>
                    <a:pt x="1498533" y="6679349"/>
                  </a:cubicBezTo>
                  <a:close/>
                  <a:moveTo>
                    <a:pt x="9744252" y="6577439"/>
                  </a:moveTo>
                  <a:cubicBezTo>
                    <a:pt x="9890747" y="6577439"/>
                    <a:pt x="10009217" y="6695909"/>
                    <a:pt x="10009217" y="6842405"/>
                  </a:cubicBezTo>
                  <a:cubicBezTo>
                    <a:pt x="10009217" y="6988901"/>
                    <a:pt x="9890747" y="7107369"/>
                    <a:pt x="9744252" y="7107369"/>
                  </a:cubicBezTo>
                  <a:cubicBezTo>
                    <a:pt x="9597757" y="7107369"/>
                    <a:pt x="9479286" y="6988901"/>
                    <a:pt x="9479286" y="6842405"/>
                  </a:cubicBezTo>
                  <a:cubicBezTo>
                    <a:pt x="9479286" y="6695909"/>
                    <a:pt x="9597757" y="6577439"/>
                    <a:pt x="9744252" y="6577439"/>
                  </a:cubicBezTo>
                  <a:close/>
                  <a:moveTo>
                    <a:pt x="1499807" y="6577439"/>
                  </a:moveTo>
                  <a:cubicBezTo>
                    <a:pt x="1646302" y="6577439"/>
                    <a:pt x="1764771" y="6695909"/>
                    <a:pt x="1764771" y="6842405"/>
                  </a:cubicBezTo>
                  <a:cubicBezTo>
                    <a:pt x="1764771" y="6988901"/>
                    <a:pt x="1646302" y="7107369"/>
                    <a:pt x="1499807" y="7107369"/>
                  </a:cubicBezTo>
                  <a:cubicBezTo>
                    <a:pt x="1353311" y="7107369"/>
                    <a:pt x="1234841" y="6988901"/>
                    <a:pt x="1234841" y="6842405"/>
                  </a:cubicBezTo>
                  <a:cubicBezTo>
                    <a:pt x="1234841" y="6695909"/>
                    <a:pt x="1353311" y="6577439"/>
                    <a:pt x="1499807" y="6577439"/>
                  </a:cubicBezTo>
                  <a:close/>
                  <a:moveTo>
                    <a:pt x="8921331" y="5855153"/>
                  </a:moveTo>
                  <a:cubicBezTo>
                    <a:pt x="8830884" y="5855153"/>
                    <a:pt x="8758274" y="5927763"/>
                    <a:pt x="8758274" y="6018209"/>
                  </a:cubicBezTo>
                  <a:cubicBezTo>
                    <a:pt x="8758274" y="6108653"/>
                    <a:pt x="8830884" y="6181265"/>
                    <a:pt x="8921331" y="6181265"/>
                  </a:cubicBezTo>
                  <a:cubicBezTo>
                    <a:pt x="9011775" y="6181265"/>
                    <a:pt x="9084385" y="6108653"/>
                    <a:pt x="9084385" y="6018209"/>
                  </a:cubicBezTo>
                  <a:cubicBezTo>
                    <a:pt x="9084385" y="5927763"/>
                    <a:pt x="9011775" y="5855153"/>
                    <a:pt x="8921331" y="5855153"/>
                  </a:cubicBezTo>
                  <a:close/>
                  <a:moveTo>
                    <a:pt x="674337" y="5855153"/>
                  </a:moveTo>
                  <a:cubicBezTo>
                    <a:pt x="583892" y="5855153"/>
                    <a:pt x="511282" y="5927763"/>
                    <a:pt x="511282" y="6018209"/>
                  </a:cubicBezTo>
                  <a:cubicBezTo>
                    <a:pt x="511282" y="6108653"/>
                    <a:pt x="583892" y="6181265"/>
                    <a:pt x="674337" y="6181265"/>
                  </a:cubicBezTo>
                  <a:cubicBezTo>
                    <a:pt x="764782" y="6181265"/>
                    <a:pt x="837393" y="6108653"/>
                    <a:pt x="837393" y="6018209"/>
                  </a:cubicBezTo>
                  <a:cubicBezTo>
                    <a:pt x="837393" y="5927763"/>
                    <a:pt x="764782" y="5855153"/>
                    <a:pt x="674337" y="5855153"/>
                  </a:cubicBezTo>
                  <a:close/>
                  <a:moveTo>
                    <a:pt x="10375356" y="5854333"/>
                  </a:moveTo>
                  <a:lnTo>
                    <a:pt x="10334572" y="6121561"/>
                  </a:lnTo>
                  <a:lnTo>
                    <a:pt x="10334472" y="6121413"/>
                  </a:lnTo>
                  <a:cubicBezTo>
                    <a:pt x="10321077" y="6089706"/>
                    <a:pt x="10313672" y="6054833"/>
                    <a:pt x="10313672" y="6018209"/>
                  </a:cubicBezTo>
                  <a:cubicBezTo>
                    <a:pt x="10313672" y="5981585"/>
                    <a:pt x="10321077" y="5946713"/>
                    <a:pt x="10334472" y="5915005"/>
                  </a:cubicBezTo>
                  <a:close/>
                  <a:moveTo>
                    <a:pt x="9694571" y="5763433"/>
                  </a:moveTo>
                  <a:lnTo>
                    <a:pt x="9796481" y="5763433"/>
                  </a:lnTo>
                  <a:lnTo>
                    <a:pt x="9796481" y="6274257"/>
                  </a:lnTo>
                  <a:lnTo>
                    <a:pt x="9694571" y="6274257"/>
                  </a:lnTo>
                  <a:close/>
                  <a:moveTo>
                    <a:pt x="1447575" y="5763433"/>
                  </a:moveTo>
                  <a:lnTo>
                    <a:pt x="1549485" y="5763433"/>
                  </a:lnTo>
                  <a:lnTo>
                    <a:pt x="1549485" y="6274257"/>
                  </a:lnTo>
                  <a:lnTo>
                    <a:pt x="1447575" y="6274257"/>
                  </a:lnTo>
                  <a:close/>
                  <a:moveTo>
                    <a:pt x="8922604" y="5753243"/>
                  </a:moveTo>
                  <a:cubicBezTo>
                    <a:pt x="9069099" y="5753243"/>
                    <a:pt x="9187569" y="5871713"/>
                    <a:pt x="9187569" y="6018209"/>
                  </a:cubicBezTo>
                  <a:cubicBezTo>
                    <a:pt x="9187569" y="6164705"/>
                    <a:pt x="9069099" y="6283173"/>
                    <a:pt x="8922604" y="6283173"/>
                  </a:cubicBezTo>
                  <a:cubicBezTo>
                    <a:pt x="8776109" y="6283173"/>
                    <a:pt x="8657638" y="6164705"/>
                    <a:pt x="8657638" y="6018209"/>
                  </a:cubicBezTo>
                  <a:cubicBezTo>
                    <a:pt x="8657638" y="5871713"/>
                    <a:pt x="8776109" y="5753243"/>
                    <a:pt x="8922604" y="5753243"/>
                  </a:cubicBezTo>
                  <a:close/>
                  <a:moveTo>
                    <a:pt x="675610" y="5753243"/>
                  </a:moveTo>
                  <a:cubicBezTo>
                    <a:pt x="822108" y="5753243"/>
                    <a:pt x="940577" y="5871713"/>
                    <a:pt x="940577" y="6018209"/>
                  </a:cubicBezTo>
                  <a:cubicBezTo>
                    <a:pt x="940577" y="6164705"/>
                    <a:pt x="822108" y="6283173"/>
                    <a:pt x="675610" y="6283173"/>
                  </a:cubicBezTo>
                  <a:cubicBezTo>
                    <a:pt x="529116" y="6283173"/>
                    <a:pt x="410646" y="6164705"/>
                    <a:pt x="410646" y="6018209"/>
                  </a:cubicBezTo>
                  <a:cubicBezTo>
                    <a:pt x="410646" y="5871713"/>
                    <a:pt x="529116" y="5753243"/>
                    <a:pt x="675610" y="5753243"/>
                  </a:cubicBezTo>
                  <a:close/>
                  <a:moveTo>
                    <a:pt x="9489477" y="5143057"/>
                  </a:moveTo>
                  <a:lnTo>
                    <a:pt x="10000300" y="5143057"/>
                  </a:lnTo>
                  <a:lnTo>
                    <a:pt x="10000300" y="5244969"/>
                  </a:lnTo>
                  <a:lnTo>
                    <a:pt x="9489477" y="5244969"/>
                  </a:lnTo>
                  <a:close/>
                  <a:moveTo>
                    <a:pt x="8706634" y="5143057"/>
                  </a:moveTo>
                  <a:lnTo>
                    <a:pt x="9176104" y="5143057"/>
                  </a:lnTo>
                  <a:lnTo>
                    <a:pt x="9176104" y="5244969"/>
                  </a:lnTo>
                  <a:lnTo>
                    <a:pt x="8707060" y="5244969"/>
                  </a:lnTo>
                  <a:lnTo>
                    <a:pt x="8709420" y="5198237"/>
                  </a:lnTo>
                  <a:close/>
                  <a:moveTo>
                    <a:pt x="1242485" y="5143057"/>
                  </a:moveTo>
                  <a:lnTo>
                    <a:pt x="1714449" y="5143057"/>
                  </a:lnTo>
                  <a:lnTo>
                    <a:pt x="1711662" y="5198237"/>
                  </a:lnTo>
                  <a:lnTo>
                    <a:pt x="1714022" y="5244969"/>
                  </a:lnTo>
                  <a:lnTo>
                    <a:pt x="1242485" y="5244969"/>
                  </a:lnTo>
                  <a:close/>
                  <a:moveTo>
                    <a:pt x="2787" y="5143057"/>
                  </a:moveTo>
                  <a:lnTo>
                    <a:pt x="97302" y="5143057"/>
                  </a:lnTo>
                  <a:lnTo>
                    <a:pt x="97302" y="5244969"/>
                  </a:lnTo>
                  <a:lnTo>
                    <a:pt x="2360" y="5244969"/>
                  </a:lnTo>
                  <a:lnTo>
                    <a:pt x="0" y="5198237"/>
                  </a:lnTo>
                  <a:close/>
                  <a:moveTo>
                    <a:pt x="623389" y="4939239"/>
                  </a:moveTo>
                  <a:lnTo>
                    <a:pt x="725299" y="4939239"/>
                  </a:lnTo>
                  <a:lnTo>
                    <a:pt x="725299" y="5450061"/>
                  </a:lnTo>
                  <a:lnTo>
                    <a:pt x="623389" y="5450061"/>
                  </a:lnTo>
                  <a:close/>
                  <a:moveTo>
                    <a:pt x="86723" y="4273524"/>
                  </a:moveTo>
                  <a:lnTo>
                    <a:pt x="106218" y="4371093"/>
                  </a:lnTo>
                  <a:cubicBezTo>
                    <a:pt x="106218" y="4407717"/>
                    <a:pt x="98813" y="4442589"/>
                    <a:pt x="85418" y="4474296"/>
                  </a:cubicBezTo>
                  <a:lnTo>
                    <a:pt x="47492" y="4530579"/>
                  </a:lnTo>
                  <a:close/>
                  <a:moveTo>
                    <a:pt x="9745526" y="4208037"/>
                  </a:moveTo>
                  <a:cubicBezTo>
                    <a:pt x="9655081" y="4208037"/>
                    <a:pt x="9582469" y="4280647"/>
                    <a:pt x="9582469" y="4371093"/>
                  </a:cubicBezTo>
                  <a:cubicBezTo>
                    <a:pt x="9582469" y="4461537"/>
                    <a:pt x="9655081" y="4534147"/>
                    <a:pt x="9745526" y="4534147"/>
                  </a:cubicBezTo>
                  <a:cubicBezTo>
                    <a:pt x="9835970" y="4534147"/>
                    <a:pt x="9908582" y="4461537"/>
                    <a:pt x="9908582" y="4371093"/>
                  </a:cubicBezTo>
                  <a:cubicBezTo>
                    <a:pt x="9908582" y="4280647"/>
                    <a:pt x="9835970" y="4208037"/>
                    <a:pt x="9745526" y="4208037"/>
                  </a:cubicBezTo>
                  <a:close/>
                  <a:moveTo>
                    <a:pt x="1498539" y="4208037"/>
                  </a:moveTo>
                  <a:cubicBezTo>
                    <a:pt x="1408093" y="4208037"/>
                    <a:pt x="1335482" y="4280647"/>
                    <a:pt x="1335482" y="4371093"/>
                  </a:cubicBezTo>
                  <a:cubicBezTo>
                    <a:pt x="1335482" y="4461537"/>
                    <a:pt x="1408093" y="4534147"/>
                    <a:pt x="1498539" y="4534147"/>
                  </a:cubicBezTo>
                  <a:cubicBezTo>
                    <a:pt x="1588983" y="4534147"/>
                    <a:pt x="1661593" y="4461537"/>
                    <a:pt x="1661593" y="4371093"/>
                  </a:cubicBezTo>
                  <a:cubicBezTo>
                    <a:pt x="1661593" y="4280647"/>
                    <a:pt x="1588983" y="4208037"/>
                    <a:pt x="1498539" y="4208037"/>
                  </a:cubicBezTo>
                  <a:close/>
                  <a:moveTo>
                    <a:pt x="8870376" y="4115043"/>
                  </a:moveTo>
                  <a:lnTo>
                    <a:pt x="8972285" y="4115043"/>
                  </a:lnTo>
                  <a:lnTo>
                    <a:pt x="8972285" y="4625865"/>
                  </a:lnTo>
                  <a:lnTo>
                    <a:pt x="8870376" y="4625865"/>
                  </a:lnTo>
                  <a:close/>
                  <a:moveTo>
                    <a:pt x="623387" y="4115043"/>
                  </a:moveTo>
                  <a:lnTo>
                    <a:pt x="725297" y="4115043"/>
                  </a:lnTo>
                  <a:lnTo>
                    <a:pt x="725297" y="4625865"/>
                  </a:lnTo>
                  <a:lnTo>
                    <a:pt x="623387" y="4625865"/>
                  </a:lnTo>
                  <a:close/>
                  <a:moveTo>
                    <a:pt x="9744252" y="4106125"/>
                  </a:moveTo>
                  <a:cubicBezTo>
                    <a:pt x="9890747" y="4106125"/>
                    <a:pt x="10009217" y="4224597"/>
                    <a:pt x="10009217" y="4371093"/>
                  </a:cubicBezTo>
                  <a:cubicBezTo>
                    <a:pt x="10009217" y="4517587"/>
                    <a:pt x="9890747" y="4636057"/>
                    <a:pt x="9744252" y="4636057"/>
                  </a:cubicBezTo>
                  <a:cubicBezTo>
                    <a:pt x="9597757" y="4636057"/>
                    <a:pt x="9479286" y="4517587"/>
                    <a:pt x="9479286" y="4371093"/>
                  </a:cubicBezTo>
                  <a:cubicBezTo>
                    <a:pt x="9479286" y="4224597"/>
                    <a:pt x="9597757" y="4106125"/>
                    <a:pt x="9744252" y="4106125"/>
                  </a:cubicBezTo>
                  <a:close/>
                  <a:moveTo>
                    <a:pt x="1499812" y="4106125"/>
                  </a:moveTo>
                  <a:cubicBezTo>
                    <a:pt x="1646307" y="4106125"/>
                    <a:pt x="1764778" y="4224597"/>
                    <a:pt x="1764778" y="4371093"/>
                  </a:cubicBezTo>
                  <a:cubicBezTo>
                    <a:pt x="1764778" y="4517587"/>
                    <a:pt x="1646307" y="4636057"/>
                    <a:pt x="1499812" y="4636057"/>
                  </a:cubicBezTo>
                  <a:cubicBezTo>
                    <a:pt x="1353316" y="4634783"/>
                    <a:pt x="1234846" y="4517587"/>
                    <a:pt x="1234846" y="4371093"/>
                  </a:cubicBezTo>
                  <a:cubicBezTo>
                    <a:pt x="1234846" y="4224597"/>
                    <a:pt x="1353316" y="4106125"/>
                    <a:pt x="1499812" y="4106125"/>
                  </a:cubicBezTo>
                  <a:close/>
                  <a:moveTo>
                    <a:pt x="9489477" y="3495941"/>
                  </a:moveTo>
                  <a:lnTo>
                    <a:pt x="10000300" y="3495941"/>
                  </a:lnTo>
                  <a:lnTo>
                    <a:pt x="10000300" y="3597851"/>
                  </a:lnTo>
                  <a:lnTo>
                    <a:pt x="9489477" y="3597851"/>
                  </a:lnTo>
                  <a:close/>
                  <a:moveTo>
                    <a:pt x="2066685" y="3495941"/>
                  </a:moveTo>
                  <a:lnTo>
                    <a:pt x="2154931" y="3495941"/>
                  </a:lnTo>
                  <a:lnTo>
                    <a:pt x="2133958" y="3530464"/>
                  </a:lnTo>
                  <a:lnTo>
                    <a:pt x="2101496" y="3597851"/>
                  </a:lnTo>
                  <a:lnTo>
                    <a:pt x="2066685" y="3597851"/>
                  </a:lnTo>
                  <a:close/>
                  <a:moveTo>
                    <a:pt x="674343" y="3383841"/>
                  </a:moveTo>
                  <a:cubicBezTo>
                    <a:pt x="583899" y="3383841"/>
                    <a:pt x="511289" y="3456451"/>
                    <a:pt x="511289" y="3546897"/>
                  </a:cubicBezTo>
                  <a:cubicBezTo>
                    <a:pt x="511289" y="3637341"/>
                    <a:pt x="583899" y="3709953"/>
                    <a:pt x="674343" y="3709953"/>
                  </a:cubicBezTo>
                  <a:cubicBezTo>
                    <a:pt x="764789" y="3709953"/>
                    <a:pt x="837399" y="3637341"/>
                    <a:pt x="837399" y="3546897"/>
                  </a:cubicBezTo>
                  <a:cubicBezTo>
                    <a:pt x="837399" y="3456451"/>
                    <a:pt x="764789" y="3383841"/>
                    <a:pt x="674343" y="3383841"/>
                  </a:cubicBezTo>
                  <a:close/>
                  <a:moveTo>
                    <a:pt x="8870376" y="3292121"/>
                  </a:moveTo>
                  <a:lnTo>
                    <a:pt x="8972285" y="3292121"/>
                  </a:lnTo>
                  <a:lnTo>
                    <a:pt x="8972285" y="3802945"/>
                  </a:lnTo>
                  <a:lnTo>
                    <a:pt x="8870376" y="3802945"/>
                  </a:lnTo>
                  <a:close/>
                  <a:moveTo>
                    <a:pt x="8142327" y="3292121"/>
                  </a:moveTo>
                  <a:lnTo>
                    <a:pt x="8148089" y="3292121"/>
                  </a:lnTo>
                  <a:lnTo>
                    <a:pt x="8148089" y="3301606"/>
                  </a:lnTo>
                  <a:close/>
                  <a:moveTo>
                    <a:pt x="1447583" y="3292121"/>
                  </a:moveTo>
                  <a:lnTo>
                    <a:pt x="1549493" y="3292121"/>
                  </a:lnTo>
                  <a:lnTo>
                    <a:pt x="1549493" y="3802945"/>
                  </a:lnTo>
                  <a:lnTo>
                    <a:pt x="1447583" y="3802945"/>
                  </a:lnTo>
                  <a:close/>
                  <a:moveTo>
                    <a:pt x="675617" y="3281931"/>
                  </a:moveTo>
                  <a:cubicBezTo>
                    <a:pt x="822113" y="3281931"/>
                    <a:pt x="940583" y="3400401"/>
                    <a:pt x="940583" y="3546897"/>
                  </a:cubicBezTo>
                  <a:cubicBezTo>
                    <a:pt x="940583" y="3693393"/>
                    <a:pt x="822113" y="3811861"/>
                    <a:pt x="675617" y="3811861"/>
                  </a:cubicBezTo>
                  <a:cubicBezTo>
                    <a:pt x="529123" y="3811861"/>
                    <a:pt x="410652" y="3693393"/>
                    <a:pt x="410652" y="3546897"/>
                  </a:cubicBezTo>
                  <a:cubicBezTo>
                    <a:pt x="410652" y="3400401"/>
                    <a:pt x="529123" y="3281931"/>
                    <a:pt x="675617" y="3281931"/>
                  </a:cubicBezTo>
                  <a:close/>
                  <a:moveTo>
                    <a:pt x="1242482" y="2671745"/>
                  </a:moveTo>
                  <a:lnTo>
                    <a:pt x="1753305" y="2671745"/>
                  </a:lnTo>
                  <a:lnTo>
                    <a:pt x="1753305" y="2773657"/>
                  </a:lnTo>
                  <a:lnTo>
                    <a:pt x="1242482" y="2773657"/>
                  </a:lnTo>
                  <a:close/>
                  <a:moveTo>
                    <a:pt x="8921331" y="2560919"/>
                  </a:moveTo>
                  <a:cubicBezTo>
                    <a:pt x="8832160" y="2560919"/>
                    <a:pt x="8758275" y="2633529"/>
                    <a:pt x="8758275" y="2723975"/>
                  </a:cubicBezTo>
                  <a:cubicBezTo>
                    <a:pt x="8758275" y="2814419"/>
                    <a:pt x="8830885" y="2887029"/>
                    <a:pt x="8921331" y="2887029"/>
                  </a:cubicBezTo>
                  <a:cubicBezTo>
                    <a:pt x="9011776" y="2887029"/>
                    <a:pt x="9084386" y="2814419"/>
                    <a:pt x="9084386" y="2723975"/>
                  </a:cubicBezTo>
                  <a:cubicBezTo>
                    <a:pt x="9084386" y="2633529"/>
                    <a:pt x="9011776" y="2560919"/>
                    <a:pt x="8921331" y="2560919"/>
                  </a:cubicBezTo>
                  <a:close/>
                  <a:moveTo>
                    <a:pt x="2322726" y="2560919"/>
                  </a:moveTo>
                  <a:cubicBezTo>
                    <a:pt x="2232282" y="2560919"/>
                    <a:pt x="2159671" y="2633529"/>
                    <a:pt x="2159671" y="2723975"/>
                  </a:cubicBezTo>
                  <a:cubicBezTo>
                    <a:pt x="2159671" y="2814419"/>
                    <a:pt x="2232282" y="2887029"/>
                    <a:pt x="2322726" y="2887029"/>
                  </a:cubicBezTo>
                  <a:cubicBezTo>
                    <a:pt x="2411897" y="2885757"/>
                    <a:pt x="2485782" y="2813145"/>
                    <a:pt x="2485782" y="2723975"/>
                  </a:cubicBezTo>
                  <a:cubicBezTo>
                    <a:pt x="2485782" y="2633529"/>
                    <a:pt x="2413173" y="2560919"/>
                    <a:pt x="2322726" y="2560919"/>
                  </a:cubicBezTo>
                  <a:close/>
                  <a:moveTo>
                    <a:pt x="9694571" y="2553886"/>
                  </a:moveTo>
                  <a:lnTo>
                    <a:pt x="9792198" y="2714584"/>
                  </a:lnTo>
                  <a:lnTo>
                    <a:pt x="9796481" y="2723476"/>
                  </a:lnTo>
                  <a:lnTo>
                    <a:pt x="9796481" y="2978749"/>
                  </a:lnTo>
                  <a:lnTo>
                    <a:pt x="9694571" y="2978749"/>
                  </a:lnTo>
                  <a:close/>
                  <a:moveTo>
                    <a:pt x="772671" y="2477905"/>
                  </a:moveTo>
                  <a:lnTo>
                    <a:pt x="778813" y="2479809"/>
                  </a:lnTo>
                  <a:cubicBezTo>
                    <a:pt x="873936" y="2519996"/>
                    <a:pt x="940575" y="2614103"/>
                    <a:pt x="940575" y="2723975"/>
                  </a:cubicBezTo>
                  <a:cubicBezTo>
                    <a:pt x="940575" y="2870469"/>
                    <a:pt x="822106" y="2988941"/>
                    <a:pt x="675608" y="2988941"/>
                  </a:cubicBezTo>
                  <a:cubicBezTo>
                    <a:pt x="620673" y="2988463"/>
                    <a:pt x="569678" y="2971504"/>
                    <a:pt x="527394" y="2942835"/>
                  </a:cubicBezTo>
                  <a:lnTo>
                    <a:pt x="521341" y="2937832"/>
                  </a:lnTo>
                  <a:lnTo>
                    <a:pt x="566336" y="2844427"/>
                  </a:lnTo>
                  <a:lnTo>
                    <a:pt x="610701" y="2874271"/>
                  </a:lnTo>
                  <a:cubicBezTo>
                    <a:pt x="630227" y="2882491"/>
                    <a:pt x="651723" y="2887029"/>
                    <a:pt x="674334" y="2887029"/>
                  </a:cubicBezTo>
                  <a:cubicBezTo>
                    <a:pt x="764780" y="2885757"/>
                    <a:pt x="837390" y="2813145"/>
                    <a:pt x="837390" y="2723975"/>
                  </a:cubicBezTo>
                  <a:cubicBezTo>
                    <a:pt x="837390" y="2656141"/>
                    <a:pt x="796547" y="2598339"/>
                    <a:pt x="737968" y="2573678"/>
                  </a:cubicBezTo>
                  <a:lnTo>
                    <a:pt x="717037" y="2569481"/>
                  </a:lnTo>
                  <a:close/>
                  <a:moveTo>
                    <a:pt x="8046180" y="2467925"/>
                  </a:moveTo>
                  <a:lnTo>
                    <a:pt x="8148089" y="2467925"/>
                  </a:lnTo>
                  <a:lnTo>
                    <a:pt x="8148089" y="2978749"/>
                  </a:lnTo>
                  <a:lnTo>
                    <a:pt x="8046180" y="2978749"/>
                  </a:lnTo>
                  <a:close/>
                  <a:moveTo>
                    <a:pt x="8921331" y="2459009"/>
                  </a:moveTo>
                  <a:cubicBezTo>
                    <a:pt x="9067826" y="2459009"/>
                    <a:pt x="9186296" y="2577479"/>
                    <a:pt x="9186296" y="2723975"/>
                  </a:cubicBezTo>
                  <a:cubicBezTo>
                    <a:pt x="9186296" y="2870469"/>
                    <a:pt x="9067826" y="2988941"/>
                    <a:pt x="8921331" y="2988941"/>
                  </a:cubicBezTo>
                  <a:cubicBezTo>
                    <a:pt x="8774836" y="2988941"/>
                    <a:pt x="8656365" y="2870469"/>
                    <a:pt x="8656365" y="2723975"/>
                  </a:cubicBezTo>
                  <a:cubicBezTo>
                    <a:pt x="8656365" y="2577479"/>
                    <a:pt x="8774836" y="2459009"/>
                    <a:pt x="8921331" y="2459009"/>
                  </a:cubicBezTo>
                  <a:close/>
                  <a:moveTo>
                    <a:pt x="2322726" y="2459009"/>
                  </a:moveTo>
                  <a:cubicBezTo>
                    <a:pt x="2469222" y="2459009"/>
                    <a:pt x="2587692" y="2577479"/>
                    <a:pt x="2587692" y="2723975"/>
                  </a:cubicBezTo>
                  <a:cubicBezTo>
                    <a:pt x="2587692" y="2870469"/>
                    <a:pt x="2469222" y="2988941"/>
                    <a:pt x="2322726" y="2988941"/>
                  </a:cubicBezTo>
                  <a:cubicBezTo>
                    <a:pt x="2176232" y="2988941"/>
                    <a:pt x="2057761" y="2869197"/>
                    <a:pt x="2057761" y="2723975"/>
                  </a:cubicBezTo>
                  <a:cubicBezTo>
                    <a:pt x="2057761" y="2577479"/>
                    <a:pt x="2176232" y="2459009"/>
                    <a:pt x="2322726" y="2459009"/>
                  </a:cubicBezTo>
                  <a:close/>
                  <a:moveTo>
                    <a:pt x="7842360" y="1848825"/>
                  </a:moveTo>
                  <a:lnTo>
                    <a:pt x="8353182" y="1848825"/>
                  </a:lnTo>
                  <a:lnTo>
                    <a:pt x="8353182" y="1950733"/>
                  </a:lnTo>
                  <a:lnTo>
                    <a:pt x="7842360" y="1950733"/>
                  </a:lnTo>
                  <a:close/>
                  <a:moveTo>
                    <a:pt x="6223404" y="1848825"/>
                  </a:moveTo>
                  <a:lnTo>
                    <a:pt x="6704792" y="1848825"/>
                  </a:lnTo>
                  <a:lnTo>
                    <a:pt x="6704792" y="1950733"/>
                  </a:lnTo>
                  <a:lnTo>
                    <a:pt x="6512646" y="1950733"/>
                  </a:lnTo>
                  <a:lnTo>
                    <a:pt x="6413573" y="1911670"/>
                  </a:lnTo>
                  <a:cubicBezTo>
                    <a:pt x="6359984" y="1892049"/>
                    <a:pt x="6305781" y="1873700"/>
                    <a:pt x="6251001" y="1856662"/>
                  </a:cubicBezTo>
                  <a:close/>
                  <a:moveTo>
                    <a:pt x="2890884" y="1848825"/>
                  </a:moveTo>
                  <a:lnTo>
                    <a:pt x="3401707" y="1848825"/>
                  </a:lnTo>
                  <a:lnTo>
                    <a:pt x="3401707" y="1950733"/>
                  </a:lnTo>
                  <a:lnTo>
                    <a:pt x="2890884" y="1950733"/>
                  </a:lnTo>
                  <a:close/>
                  <a:moveTo>
                    <a:pt x="1242493" y="1848825"/>
                  </a:moveTo>
                  <a:lnTo>
                    <a:pt x="1753316" y="1848825"/>
                  </a:lnTo>
                  <a:lnTo>
                    <a:pt x="1753316" y="1950733"/>
                  </a:lnTo>
                  <a:lnTo>
                    <a:pt x="1242493" y="1950733"/>
                  </a:lnTo>
                  <a:close/>
                  <a:moveTo>
                    <a:pt x="8921331" y="1736725"/>
                  </a:moveTo>
                  <a:cubicBezTo>
                    <a:pt x="8832160" y="1736725"/>
                    <a:pt x="8758275" y="1809335"/>
                    <a:pt x="8758275" y="1899781"/>
                  </a:cubicBezTo>
                  <a:cubicBezTo>
                    <a:pt x="8758275" y="1990225"/>
                    <a:pt x="8830885" y="2062835"/>
                    <a:pt x="8921331" y="2062835"/>
                  </a:cubicBezTo>
                  <a:cubicBezTo>
                    <a:pt x="9011776" y="2062835"/>
                    <a:pt x="9084386" y="1990225"/>
                    <a:pt x="9084386" y="1899781"/>
                  </a:cubicBezTo>
                  <a:cubicBezTo>
                    <a:pt x="9084386" y="1809335"/>
                    <a:pt x="9011776" y="1736725"/>
                    <a:pt x="8921331" y="1736725"/>
                  </a:cubicBezTo>
                  <a:close/>
                  <a:moveTo>
                    <a:pt x="7223258" y="1643731"/>
                  </a:moveTo>
                  <a:lnTo>
                    <a:pt x="7325168" y="1643731"/>
                  </a:lnTo>
                  <a:lnTo>
                    <a:pt x="7325168" y="2154553"/>
                  </a:lnTo>
                  <a:lnTo>
                    <a:pt x="7223258" y="2154553"/>
                  </a:lnTo>
                  <a:close/>
                  <a:moveTo>
                    <a:pt x="2271782" y="1643731"/>
                  </a:moveTo>
                  <a:lnTo>
                    <a:pt x="2373691" y="1643731"/>
                  </a:lnTo>
                  <a:lnTo>
                    <a:pt x="2373691" y="2154553"/>
                  </a:lnTo>
                  <a:lnTo>
                    <a:pt x="2271782" y="2154553"/>
                  </a:lnTo>
                  <a:close/>
                  <a:moveTo>
                    <a:pt x="8921331" y="1634813"/>
                  </a:moveTo>
                  <a:cubicBezTo>
                    <a:pt x="8957955" y="1634813"/>
                    <a:pt x="8992827" y="1642218"/>
                    <a:pt x="9024534" y="1655614"/>
                  </a:cubicBezTo>
                  <a:lnTo>
                    <a:pt x="9036119" y="1661896"/>
                  </a:lnTo>
                  <a:lnTo>
                    <a:pt x="9067478" y="1694788"/>
                  </a:lnTo>
                  <a:lnTo>
                    <a:pt x="9168482" y="1811390"/>
                  </a:lnTo>
                  <a:lnTo>
                    <a:pt x="9186296" y="1899781"/>
                  </a:lnTo>
                  <a:cubicBezTo>
                    <a:pt x="9186296" y="2046275"/>
                    <a:pt x="9067826" y="2164745"/>
                    <a:pt x="8921331" y="2164745"/>
                  </a:cubicBezTo>
                  <a:cubicBezTo>
                    <a:pt x="8774836" y="2164745"/>
                    <a:pt x="8656365" y="2046275"/>
                    <a:pt x="8656365" y="1899781"/>
                  </a:cubicBezTo>
                  <a:cubicBezTo>
                    <a:pt x="8656365" y="1753285"/>
                    <a:pt x="8774836" y="1634813"/>
                    <a:pt x="8921331" y="1634813"/>
                  </a:cubicBezTo>
                  <a:close/>
                  <a:moveTo>
                    <a:pt x="3969851" y="1634813"/>
                  </a:moveTo>
                  <a:cubicBezTo>
                    <a:pt x="4079723" y="1634813"/>
                    <a:pt x="4173831" y="1701454"/>
                    <a:pt x="4214017" y="1796577"/>
                  </a:cubicBezTo>
                  <a:lnTo>
                    <a:pt x="4223093" y="1841608"/>
                  </a:lnTo>
                  <a:lnTo>
                    <a:pt x="4170081" y="1856662"/>
                  </a:lnTo>
                  <a:lnTo>
                    <a:pt x="4127174" y="1871180"/>
                  </a:lnTo>
                  <a:lnTo>
                    <a:pt x="4120150" y="1836147"/>
                  </a:lnTo>
                  <a:cubicBezTo>
                    <a:pt x="4095488" y="1777568"/>
                    <a:pt x="4037686" y="1736725"/>
                    <a:pt x="3969851" y="1736725"/>
                  </a:cubicBezTo>
                  <a:cubicBezTo>
                    <a:pt x="3880680" y="1736725"/>
                    <a:pt x="3806796" y="1809335"/>
                    <a:pt x="3806796" y="1899781"/>
                  </a:cubicBezTo>
                  <a:cubicBezTo>
                    <a:pt x="3806796" y="1922392"/>
                    <a:pt x="3811334" y="1943889"/>
                    <a:pt x="3819555" y="1963414"/>
                  </a:cubicBezTo>
                  <a:lnTo>
                    <a:pt x="3832208" y="1982224"/>
                  </a:lnTo>
                  <a:lnTo>
                    <a:pt x="3741230" y="2026051"/>
                  </a:lnTo>
                  <a:lnTo>
                    <a:pt x="3725686" y="2002984"/>
                  </a:lnTo>
                  <a:cubicBezTo>
                    <a:pt x="3712291" y="1971277"/>
                    <a:pt x="3704886" y="1936405"/>
                    <a:pt x="3704886" y="1899781"/>
                  </a:cubicBezTo>
                  <a:cubicBezTo>
                    <a:pt x="3704886" y="1753285"/>
                    <a:pt x="3823356" y="1634813"/>
                    <a:pt x="3969851" y="1634813"/>
                  </a:cubicBezTo>
                  <a:close/>
                  <a:moveTo>
                    <a:pt x="7842360" y="1024629"/>
                  </a:moveTo>
                  <a:lnTo>
                    <a:pt x="8330359" y="1024629"/>
                  </a:lnTo>
                  <a:lnTo>
                    <a:pt x="8353182" y="1042565"/>
                  </a:lnTo>
                  <a:lnTo>
                    <a:pt x="8353182" y="1126539"/>
                  </a:lnTo>
                  <a:lnTo>
                    <a:pt x="7842360" y="1126539"/>
                  </a:lnTo>
                  <a:close/>
                  <a:moveTo>
                    <a:pt x="5371048" y="1024629"/>
                  </a:moveTo>
                  <a:lnTo>
                    <a:pt x="5881870" y="1024629"/>
                  </a:lnTo>
                  <a:lnTo>
                    <a:pt x="5881870" y="1126539"/>
                  </a:lnTo>
                  <a:lnTo>
                    <a:pt x="5371048" y="1126539"/>
                  </a:lnTo>
                  <a:close/>
                  <a:moveTo>
                    <a:pt x="4538001" y="1024629"/>
                  </a:moveTo>
                  <a:lnTo>
                    <a:pt x="5048825" y="1024629"/>
                  </a:lnTo>
                  <a:lnTo>
                    <a:pt x="5048825" y="1126539"/>
                  </a:lnTo>
                  <a:lnTo>
                    <a:pt x="4538001" y="1126539"/>
                  </a:lnTo>
                  <a:close/>
                  <a:moveTo>
                    <a:pt x="2890886" y="1024629"/>
                  </a:moveTo>
                  <a:lnTo>
                    <a:pt x="3401709" y="1024629"/>
                  </a:lnTo>
                  <a:lnTo>
                    <a:pt x="3401709" y="1126539"/>
                  </a:lnTo>
                  <a:lnTo>
                    <a:pt x="2890886" y="1126539"/>
                  </a:lnTo>
                  <a:close/>
                  <a:moveTo>
                    <a:pt x="6450017" y="912529"/>
                  </a:moveTo>
                  <a:cubicBezTo>
                    <a:pt x="6359572" y="912529"/>
                    <a:pt x="6286962" y="985139"/>
                    <a:pt x="6286962" y="1075585"/>
                  </a:cubicBezTo>
                  <a:cubicBezTo>
                    <a:pt x="6286962" y="1166029"/>
                    <a:pt x="6359572" y="1238639"/>
                    <a:pt x="6450017" y="1238639"/>
                  </a:cubicBezTo>
                  <a:cubicBezTo>
                    <a:pt x="6540463" y="1238639"/>
                    <a:pt x="6613073" y="1166029"/>
                    <a:pt x="6613073" y="1075585"/>
                  </a:cubicBezTo>
                  <a:cubicBezTo>
                    <a:pt x="6613073" y="985139"/>
                    <a:pt x="6540463" y="912529"/>
                    <a:pt x="6450017" y="912529"/>
                  </a:cubicBezTo>
                  <a:close/>
                  <a:moveTo>
                    <a:pt x="2373692" y="828587"/>
                  </a:moveTo>
                  <a:lnTo>
                    <a:pt x="2373692" y="1331633"/>
                  </a:lnTo>
                  <a:lnTo>
                    <a:pt x="2271782" y="1331633"/>
                  </a:lnTo>
                  <a:lnTo>
                    <a:pt x="2271782" y="895706"/>
                  </a:lnTo>
                  <a:lnTo>
                    <a:pt x="2297278" y="877575"/>
                  </a:lnTo>
                  <a:close/>
                  <a:moveTo>
                    <a:pt x="7223258" y="820809"/>
                  </a:moveTo>
                  <a:lnTo>
                    <a:pt x="7325168" y="820809"/>
                  </a:lnTo>
                  <a:lnTo>
                    <a:pt x="7325168" y="1331633"/>
                  </a:lnTo>
                  <a:lnTo>
                    <a:pt x="7223258" y="1331633"/>
                  </a:lnTo>
                  <a:close/>
                  <a:moveTo>
                    <a:pt x="3918899" y="820809"/>
                  </a:moveTo>
                  <a:lnTo>
                    <a:pt x="4020808" y="820809"/>
                  </a:lnTo>
                  <a:lnTo>
                    <a:pt x="4020808" y="1331633"/>
                  </a:lnTo>
                  <a:lnTo>
                    <a:pt x="3918899" y="1331633"/>
                  </a:lnTo>
                  <a:close/>
                  <a:moveTo>
                    <a:pt x="6451292" y="810617"/>
                  </a:moveTo>
                  <a:cubicBezTo>
                    <a:pt x="6597788" y="810617"/>
                    <a:pt x="6716257" y="929089"/>
                    <a:pt x="6716257" y="1075585"/>
                  </a:cubicBezTo>
                  <a:cubicBezTo>
                    <a:pt x="6716257" y="1222079"/>
                    <a:pt x="6597788" y="1340549"/>
                    <a:pt x="6451292" y="1340549"/>
                  </a:cubicBezTo>
                  <a:cubicBezTo>
                    <a:pt x="6303522" y="1340549"/>
                    <a:pt x="6186326" y="1222079"/>
                    <a:pt x="6186326" y="1075585"/>
                  </a:cubicBezTo>
                  <a:cubicBezTo>
                    <a:pt x="6186326" y="929089"/>
                    <a:pt x="6304797" y="810617"/>
                    <a:pt x="6451292" y="810617"/>
                  </a:cubicBezTo>
                  <a:close/>
                  <a:moveTo>
                    <a:pt x="6399063" y="125503"/>
                  </a:moveTo>
                  <a:lnTo>
                    <a:pt x="6500973" y="149024"/>
                  </a:lnTo>
                  <a:lnTo>
                    <a:pt x="6500973" y="508711"/>
                  </a:lnTo>
                  <a:lnTo>
                    <a:pt x="6399063" y="508711"/>
                  </a:lnTo>
                  <a:close/>
                  <a:moveTo>
                    <a:pt x="4743094" y="101073"/>
                  </a:moveTo>
                  <a:lnTo>
                    <a:pt x="4845004" y="101073"/>
                  </a:lnTo>
                  <a:lnTo>
                    <a:pt x="4845004" y="508711"/>
                  </a:lnTo>
                  <a:lnTo>
                    <a:pt x="4743094" y="508711"/>
                  </a:lnTo>
                  <a:close/>
                  <a:moveTo>
                    <a:pt x="4174642" y="91020"/>
                  </a:moveTo>
                  <a:lnTo>
                    <a:pt x="4214021" y="149458"/>
                  </a:lnTo>
                  <a:cubicBezTo>
                    <a:pt x="4227416" y="181166"/>
                    <a:pt x="4234820" y="216038"/>
                    <a:pt x="4234820" y="252661"/>
                  </a:cubicBezTo>
                  <a:cubicBezTo>
                    <a:pt x="4234820" y="399157"/>
                    <a:pt x="4116350" y="517629"/>
                    <a:pt x="3969854" y="517629"/>
                  </a:cubicBezTo>
                  <a:cubicBezTo>
                    <a:pt x="3823359" y="517629"/>
                    <a:pt x="3704889" y="399157"/>
                    <a:pt x="3704889" y="252661"/>
                  </a:cubicBezTo>
                  <a:lnTo>
                    <a:pt x="3714113" y="206895"/>
                  </a:lnTo>
                  <a:lnTo>
                    <a:pt x="3829928" y="174007"/>
                  </a:lnTo>
                  <a:lnTo>
                    <a:pt x="3819737" y="189028"/>
                  </a:lnTo>
                  <a:cubicBezTo>
                    <a:pt x="3811417" y="208554"/>
                    <a:pt x="3806799" y="230050"/>
                    <a:pt x="3806799" y="252661"/>
                  </a:cubicBezTo>
                  <a:cubicBezTo>
                    <a:pt x="3806799" y="343107"/>
                    <a:pt x="3879410" y="415717"/>
                    <a:pt x="3969854" y="415717"/>
                  </a:cubicBezTo>
                  <a:cubicBezTo>
                    <a:pt x="4060300" y="415717"/>
                    <a:pt x="4132911" y="343107"/>
                    <a:pt x="4132911" y="252661"/>
                  </a:cubicBezTo>
                  <a:cubicBezTo>
                    <a:pt x="4132911" y="207439"/>
                    <a:pt x="4114759" y="166676"/>
                    <a:pt x="4085300" y="137218"/>
                  </a:cubicBezTo>
                  <a:lnTo>
                    <a:pt x="4056168" y="117622"/>
                  </a:lnTo>
                  <a:lnTo>
                    <a:pt x="4160436" y="93557"/>
                  </a:lnTo>
                  <a:close/>
                  <a:moveTo>
                    <a:pt x="5625822" y="89607"/>
                  </a:moveTo>
                  <a:cubicBezTo>
                    <a:pt x="5535377" y="89607"/>
                    <a:pt x="5462766" y="162217"/>
                    <a:pt x="5462766" y="252661"/>
                  </a:cubicBezTo>
                  <a:cubicBezTo>
                    <a:pt x="5462766" y="343107"/>
                    <a:pt x="5535377" y="415717"/>
                    <a:pt x="5625822" y="415717"/>
                  </a:cubicBezTo>
                  <a:cubicBezTo>
                    <a:pt x="5716267" y="414445"/>
                    <a:pt x="5788878" y="341833"/>
                    <a:pt x="5788878" y="252661"/>
                  </a:cubicBezTo>
                  <a:cubicBezTo>
                    <a:pt x="5788878" y="162217"/>
                    <a:pt x="5716267" y="89607"/>
                    <a:pt x="5625822" y="89607"/>
                  </a:cubicBezTo>
                  <a:close/>
                  <a:moveTo>
                    <a:pt x="5551305" y="0"/>
                  </a:moveTo>
                  <a:lnTo>
                    <a:pt x="5741268" y="14445"/>
                  </a:lnTo>
                  <a:lnTo>
                    <a:pt x="5775311" y="32907"/>
                  </a:lnTo>
                  <a:cubicBezTo>
                    <a:pt x="5845785" y="80491"/>
                    <a:pt x="5892062" y="161102"/>
                    <a:pt x="5892062" y="252661"/>
                  </a:cubicBezTo>
                  <a:cubicBezTo>
                    <a:pt x="5892062" y="399157"/>
                    <a:pt x="5773592" y="517629"/>
                    <a:pt x="5627096" y="517629"/>
                  </a:cubicBezTo>
                  <a:cubicBezTo>
                    <a:pt x="5480601" y="516353"/>
                    <a:pt x="5362131" y="397885"/>
                    <a:pt x="5362131" y="252661"/>
                  </a:cubicBezTo>
                  <a:cubicBezTo>
                    <a:pt x="5362131" y="142791"/>
                    <a:pt x="5428771" y="48684"/>
                    <a:pt x="5523893" y="8497"/>
                  </a:cubicBez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0"/>
                    <a:alpha val="15000"/>
                  </a:schemeClr>
                </a:gs>
                <a:gs pos="67000">
                  <a:schemeClr val="accent1">
                    <a:lumMod val="50000"/>
                    <a:alpha val="0"/>
                  </a:schemeClr>
                </a:gs>
              </a:gsLst>
              <a:lin ang="18900000" scaled="0"/>
            </a:gradFill>
            <a:ln w="127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C919FD6-FD11-D944-966A-E09C68CD4C47}"/>
                </a:ext>
              </a:extLst>
            </p:cNvPr>
            <p:cNvSpPr/>
            <p:nvPr userDrawn="1"/>
          </p:nvSpPr>
          <p:spPr>
            <a:xfrm>
              <a:off x="8863816" y="629287"/>
              <a:ext cx="58844" cy="16196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1BF5B5-5385-4751-B995-8EAAC096B3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62178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1BF5B5-5385-4751-B995-8EAAC096B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A7115F-8C8B-4AA3-8514-E327AB46B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6739157" y="6598599"/>
            <a:ext cx="1638468" cy="317121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2BE36A3-04CD-DA49-89B1-6B4E9759C8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4537" y="744223"/>
            <a:ext cx="6679261" cy="1551940"/>
          </a:xfrm>
        </p:spPr>
        <p:txBody>
          <a:bodyPr lIns="36000" rIns="0" anchor="ctr">
            <a:noAutofit/>
          </a:bodyPr>
          <a:lstStyle>
            <a:lvl1pPr algn="r">
              <a:defRPr lang="en-GB" sz="360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 dirty="0"/>
              <a:t>Title block</a:t>
            </a:r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FAA6472-8296-5044-B333-6072633219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20105" y="2528624"/>
            <a:ext cx="4983692" cy="481405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Date</a:t>
            </a:r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E49926F-FD93-BA43-9588-7F1DFF14E3F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385023" y="3065870"/>
            <a:ext cx="5751387" cy="7668516"/>
          </a:xfrm>
          <a:prstGeom prst="rect">
            <a:avLst/>
          </a:prstGeom>
          <a:effectLst>
            <a:outerShdw blurRad="2413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26371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_Photo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C755A2ED-32DF-1842-8A19-C8539D1D2D06}"/>
              </a:ext>
            </a:extLst>
          </p:cNvPr>
          <p:cNvGrpSpPr/>
          <p:nvPr userDrawn="1"/>
        </p:nvGrpSpPr>
        <p:grpSpPr>
          <a:xfrm>
            <a:off x="-2142742" y="2444389"/>
            <a:ext cx="10195879" cy="9705975"/>
            <a:chOff x="-6118144" y="-707309"/>
            <a:chExt cx="15040804" cy="10738578"/>
          </a:xfrm>
        </p:grpSpPr>
        <p:sp>
          <p:nvSpPr>
            <p:cNvPr id="27" name="Circle: Hollow 431">
              <a:extLst>
                <a:ext uri="{FF2B5EF4-FFF2-40B4-BE49-F238E27FC236}">
                  <a16:creationId xmlns:a16="http://schemas.microsoft.com/office/drawing/2014/main" id="{52E9C389-04D4-124A-A956-D73FCB8321BF}"/>
                </a:ext>
              </a:extLst>
            </p:cNvPr>
            <p:cNvSpPr/>
            <p:nvPr userDrawn="1"/>
          </p:nvSpPr>
          <p:spPr>
            <a:xfrm flipV="1">
              <a:off x="-6118144" y="-707309"/>
              <a:ext cx="10738580" cy="10738578"/>
            </a:xfrm>
            <a:prstGeom prst="donut">
              <a:avLst>
                <a:gd name="adj" fmla="val 17386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</a:rPr>
                <a:t>-</a:t>
              </a:r>
            </a:p>
          </p:txBody>
        </p:sp>
        <p:sp>
          <p:nvSpPr>
            <p:cNvPr id="28" name="Circle: Hollow 98">
              <a:extLst>
                <a:ext uri="{FF2B5EF4-FFF2-40B4-BE49-F238E27FC236}">
                  <a16:creationId xmlns:a16="http://schemas.microsoft.com/office/drawing/2014/main" id="{7F7302A7-DC46-AB4B-B757-0A7FBCA245AE}"/>
                </a:ext>
              </a:extLst>
            </p:cNvPr>
            <p:cNvSpPr/>
            <p:nvPr userDrawn="1"/>
          </p:nvSpPr>
          <p:spPr>
            <a:xfrm flipV="1">
              <a:off x="-5968729" y="-543068"/>
              <a:ext cx="10421083" cy="10421080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 dirty="0">
                <a:solidFill>
                  <a:schemeClr val="bg1"/>
                </a:solidFill>
              </a:endParaRPr>
            </a:p>
          </p:txBody>
        </p:sp>
        <p:sp>
          <p:nvSpPr>
            <p:cNvPr id="29" name="Circle: Hollow 429">
              <a:extLst>
                <a:ext uri="{FF2B5EF4-FFF2-40B4-BE49-F238E27FC236}">
                  <a16:creationId xmlns:a16="http://schemas.microsoft.com/office/drawing/2014/main" id="{90E3C70C-2DCB-0D4A-AA4E-331C6524376A}"/>
                </a:ext>
              </a:extLst>
            </p:cNvPr>
            <p:cNvSpPr/>
            <p:nvPr userDrawn="1"/>
          </p:nvSpPr>
          <p:spPr>
            <a:xfrm flipV="1">
              <a:off x="-4441553" y="984108"/>
              <a:ext cx="7366729" cy="7366728"/>
            </a:xfrm>
            <a:prstGeom prst="donut">
              <a:avLst>
                <a:gd name="adj" fmla="val 253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428">
              <a:extLst>
                <a:ext uri="{FF2B5EF4-FFF2-40B4-BE49-F238E27FC236}">
                  <a16:creationId xmlns:a16="http://schemas.microsoft.com/office/drawing/2014/main" id="{3907ECBB-AD73-6F40-9A3B-442655F84ED3}"/>
                </a:ext>
              </a:extLst>
            </p:cNvPr>
            <p:cNvSpPr/>
            <p:nvPr userDrawn="1"/>
          </p:nvSpPr>
          <p:spPr>
            <a:xfrm>
              <a:off x="-5968729" y="-530765"/>
              <a:ext cx="10375356" cy="10394676"/>
            </a:xfrm>
            <a:custGeom>
              <a:avLst/>
              <a:gdLst>
                <a:gd name="connsiteX0" fmla="*/ 6202887 w 10375356"/>
                <a:gd name="connsiteY0" fmla="*/ 10086957 h 10394676"/>
                <a:gd name="connsiteX1" fmla="*/ 6713710 w 10375356"/>
                <a:gd name="connsiteY1" fmla="*/ 10086957 h 10394676"/>
                <a:gd name="connsiteX2" fmla="*/ 6713710 w 10375356"/>
                <a:gd name="connsiteY2" fmla="*/ 10187665 h 10394676"/>
                <a:gd name="connsiteX3" fmla="*/ 6709472 w 10375356"/>
                <a:gd name="connsiteY3" fmla="*/ 10188869 h 10394676"/>
                <a:gd name="connsiteX4" fmla="*/ 6202887 w 10375356"/>
                <a:gd name="connsiteY4" fmla="*/ 10188869 h 10394676"/>
                <a:gd name="connsiteX5" fmla="*/ 5634740 w 10375356"/>
                <a:gd name="connsiteY5" fmla="*/ 9974857 h 10394676"/>
                <a:gd name="connsiteX6" fmla="*/ 5471684 w 10375356"/>
                <a:gd name="connsiteY6" fmla="*/ 10137913 h 10394676"/>
                <a:gd name="connsiteX7" fmla="*/ 5634740 w 10375356"/>
                <a:gd name="connsiteY7" fmla="*/ 10300969 h 10394676"/>
                <a:gd name="connsiteX8" fmla="*/ 5797795 w 10375356"/>
                <a:gd name="connsiteY8" fmla="*/ 10137913 h 10394676"/>
                <a:gd name="connsiteX9" fmla="*/ 5634740 w 10375356"/>
                <a:gd name="connsiteY9" fmla="*/ 9974857 h 10394676"/>
                <a:gd name="connsiteX10" fmla="*/ 7232175 w 10375356"/>
                <a:gd name="connsiteY10" fmla="*/ 9881865 h 10394676"/>
                <a:gd name="connsiteX11" fmla="*/ 7334085 w 10375356"/>
                <a:gd name="connsiteY11" fmla="*/ 9881865 h 10394676"/>
                <a:gd name="connsiteX12" fmla="*/ 7334085 w 10375356"/>
                <a:gd name="connsiteY12" fmla="*/ 9956193 h 10394676"/>
                <a:gd name="connsiteX13" fmla="*/ 7238719 w 10375356"/>
                <a:gd name="connsiteY13" fmla="*/ 9999307 h 10394676"/>
                <a:gd name="connsiteX14" fmla="*/ 7232175 w 10375356"/>
                <a:gd name="connsiteY14" fmla="*/ 10001887 h 10394676"/>
                <a:gd name="connsiteX15" fmla="*/ 4751991 w 10375356"/>
                <a:gd name="connsiteY15" fmla="*/ 9881865 h 10394676"/>
                <a:gd name="connsiteX16" fmla="*/ 4853901 w 10375356"/>
                <a:gd name="connsiteY16" fmla="*/ 9881865 h 10394676"/>
                <a:gd name="connsiteX17" fmla="*/ 4853901 w 10375356"/>
                <a:gd name="connsiteY17" fmla="*/ 10290777 h 10394676"/>
                <a:gd name="connsiteX18" fmla="*/ 4751991 w 10375356"/>
                <a:gd name="connsiteY18" fmla="*/ 10290777 h 10394676"/>
                <a:gd name="connsiteX19" fmla="*/ 5636013 w 10375356"/>
                <a:gd name="connsiteY19" fmla="*/ 9872947 h 10394676"/>
                <a:gd name="connsiteX20" fmla="*/ 5900978 w 10375356"/>
                <a:gd name="connsiteY20" fmla="*/ 10137913 h 10394676"/>
                <a:gd name="connsiteX21" fmla="*/ 5739217 w 10375356"/>
                <a:gd name="connsiteY21" fmla="*/ 10382077 h 10394676"/>
                <a:gd name="connsiteX22" fmla="*/ 5738756 w 10375356"/>
                <a:gd name="connsiteY22" fmla="*/ 10382220 h 10394676"/>
                <a:gd name="connsiteX23" fmla="*/ 5574951 w 10375356"/>
                <a:gd name="connsiteY23" fmla="*/ 10394676 h 10394676"/>
                <a:gd name="connsiteX24" fmla="*/ 5532810 w 10375356"/>
                <a:gd name="connsiteY24" fmla="*/ 10381361 h 10394676"/>
                <a:gd name="connsiteX25" fmla="*/ 5371048 w 10375356"/>
                <a:gd name="connsiteY25" fmla="*/ 10137913 h 10394676"/>
                <a:gd name="connsiteX26" fmla="*/ 5636013 w 10375356"/>
                <a:gd name="connsiteY26" fmla="*/ 9872947 h 10394676"/>
                <a:gd name="connsiteX27" fmla="*/ 3978752 w 10375356"/>
                <a:gd name="connsiteY27" fmla="*/ 9872947 h 10394676"/>
                <a:gd name="connsiteX28" fmla="*/ 4243718 w 10375356"/>
                <a:gd name="connsiteY28" fmla="*/ 10137913 h 10394676"/>
                <a:gd name="connsiteX29" fmla="*/ 4222918 w 10375356"/>
                <a:gd name="connsiteY29" fmla="*/ 10241117 h 10394676"/>
                <a:gd name="connsiteX30" fmla="*/ 4179036 w 10375356"/>
                <a:gd name="connsiteY30" fmla="*/ 10306239 h 10394676"/>
                <a:gd name="connsiteX31" fmla="*/ 4160436 w 10375356"/>
                <a:gd name="connsiteY31" fmla="*/ 10302917 h 10394676"/>
                <a:gd name="connsiteX32" fmla="*/ 4056265 w 10375356"/>
                <a:gd name="connsiteY32" fmla="*/ 10278875 h 10394676"/>
                <a:gd name="connsiteX33" fmla="*/ 4094199 w 10375356"/>
                <a:gd name="connsiteY33" fmla="*/ 10253357 h 10394676"/>
                <a:gd name="connsiteX34" fmla="*/ 4141809 w 10375356"/>
                <a:gd name="connsiteY34" fmla="*/ 10137913 h 10394676"/>
                <a:gd name="connsiteX35" fmla="*/ 3978752 w 10375356"/>
                <a:gd name="connsiteY35" fmla="*/ 9974857 h 10394676"/>
                <a:gd name="connsiteX36" fmla="*/ 3815698 w 10375356"/>
                <a:gd name="connsiteY36" fmla="*/ 10137913 h 10394676"/>
                <a:gd name="connsiteX37" fmla="*/ 3828457 w 10375356"/>
                <a:gd name="connsiteY37" fmla="*/ 10201547 h 10394676"/>
                <a:gd name="connsiteX38" fmla="*/ 3845505 w 10375356"/>
                <a:gd name="connsiteY38" fmla="*/ 10226891 h 10394676"/>
                <a:gd name="connsiteX39" fmla="*/ 3724813 w 10375356"/>
                <a:gd name="connsiteY39" fmla="*/ 10192618 h 10394676"/>
                <a:gd name="connsiteX40" fmla="*/ 3713787 w 10375356"/>
                <a:gd name="connsiteY40" fmla="*/ 10137913 h 10394676"/>
                <a:gd name="connsiteX41" fmla="*/ 3978752 w 10375356"/>
                <a:gd name="connsiteY41" fmla="*/ 9872947 h 10394676"/>
                <a:gd name="connsiteX42" fmla="*/ 3155832 w 10375356"/>
                <a:gd name="connsiteY42" fmla="*/ 9872947 h 10394676"/>
                <a:gd name="connsiteX43" fmla="*/ 3399999 w 10375356"/>
                <a:gd name="connsiteY43" fmla="*/ 10034709 h 10394676"/>
                <a:gd name="connsiteX44" fmla="*/ 3411035 w 10375356"/>
                <a:gd name="connsiteY44" fmla="*/ 10089469 h 10394676"/>
                <a:gd name="connsiteX45" fmla="*/ 3280434 w 10375356"/>
                <a:gd name="connsiteY45" fmla="*/ 10037975 h 10394676"/>
                <a:gd name="connsiteX46" fmla="*/ 3270003 w 10375356"/>
                <a:gd name="connsiteY46" fmla="*/ 10022469 h 10394676"/>
                <a:gd name="connsiteX47" fmla="*/ 3154558 w 10375356"/>
                <a:gd name="connsiteY47" fmla="*/ 9974857 h 10394676"/>
                <a:gd name="connsiteX48" fmla="*/ 3136355 w 10375356"/>
                <a:gd name="connsiteY48" fmla="*/ 9978507 h 10394676"/>
                <a:gd name="connsiteX49" fmla="*/ 3005935 w 10375356"/>
                <a:gd name="connsiteY49" fmla="*/ 9919545 h 10394676"/>
                <a:gd name="connsiteX50" fmla="*/ 3007618 w 10375356"/>
                <a:gd name="connsiteY50" fmla="*/ 9918157 h 10394676"/>
                <a:gd name="connsiteX51" fmla="*/ 3155832 w 10375356"/>
                <a:gd name="connsiteY51" fmla="*/ 9872947 h 10394676"/>
                <a:gd name="connsiteX52" fmla="*/ 7851277 w 10375356"/>
                <a:gd name="connsiteY52" fmla="*/ 9262761 h 10394676"/>
                <a:gd name="connsiteX53" fmla="*/ 8362099 w 10375356"/>
                <a:gd name="connsiteY53" fmla="*/ 9262761 h 10394676"/>
                <a:gd name="connsiteX54" fmla="*/ 8362099 w 10375356"/>
                <a:gd name="connsiteY54" fmla="*/ 9346902 h 10394676"/>
                <a:gd name="connsiteX55" fmla="*/ 8339488 w 10375356"/>
                <a:gd name="connsiteY55" fmla="*/ 9364671 h 10394676"/>
                <a:gd name="connsiteX56" fmla="*/ 7851277 w 10375356"/>
                <a:gd name="connsiteY56" fmla="*/ 9364671 h 10394676"/>
                <a:gd name="connsiteX57" fmla="*/ 5379965 w 10375356"/>
                <a:gd name="connsiteY57" fmla="*/ 9262761 h 10394676"/>
                <a:gd name="connsiteX58" fmla="*/ 5890787 w 10375356"/>
                <a:gd name="connsiteY58" fmla="*/ 9262761 h 10394676"/>
                <a:gd name="connsiteX59" fmla="*/ 5890787 w 10375356"/>
                <a:gd name="connsiteY59" fmla="*/ 9364671 h 10394676"/>
                <a:gd name="connsiteX60" fmla="*/ 5379965 w 10375356"/>
                <a:gd name="connsiteY60" fmla="*/ 9364671 h 10394676"/>
                <a:gd name="connsiteX61" fmla="*/ 4546902 w 10375356"/>
                <a:gd name="connsiteY61" fmla="*/ 9262761 h 10394676"/>
                <a:gd name="connsiteX62" fmla="*/ 5057725 w 10375356"/>
                <a:gd name="connsiteY62" fmla="*/ 9262761 h 10394676"/>
                <a:gd name="connsiteX63" fmla="*/ 5057725 w 10375356"/>
                <a:gd name="connsiteY63" fmla="*/ 9364671 h 10394676"/>
                <a:gd name="connsiteX64" fmla="*/ 4546902 w 10375356"/>
                <a:gd name="connsiteY64" fmla="*/ 9364671 h 10394676"/>
                <a:gd name="connsiteX65" fmla="*/ 2899787 w 10375356"/>
                <a:gd name="connsiteY65" fmla="*/ 9262761 h 10394676"/>
                <a:gd name="connsiteX66" fmla="*/ 3410609 w 10375356"/>
                <a:gd name="connsiteY66" fmla="*/ 9262761 h 10394676"/>
                <a:gd name="connsiteX67" fmla="*/ 3410609 w 10375356"/>
                <a:gd name="connsiteY67" fmla="*/ 9364671 h 10394676"/>
                <a:gd name="connsiteX68" fmla="*/ 2899787 w 10375356"/>
                <a:gd name="connsiteY68" fmla="*/ 9364671 h 10394676"/>
                <a:gd name="connsiteX69" fmla="*/ 6450017 w 10375356"/>
                <a:gd name="connsiteY69" fmla="*/ 9150661 h 10394676"/>
                <a:gd name="connsiteX70" fmla="*/ 6286962 w 10375356"/>
                <a:gd name="connsiteY70" fmla="*/ 9313717 h 10394676"/>
                <a:gd name="connsiteX71" fmla="*/ 6450017 w 10375356"/>
                <a:gd name="connsiteY71" fmla="*/ 9476773 h 10394676"/>
                <a:gd name="connsiteX72" fmla="*/ 6613073 w 10375356"/>
                <a:gd name="connsiteY72" fmla="*/ 9313717 h 10394676"/>
                <a:gd name="connsiteX73" fmla="*/ 6450017 w 10375356"/>
                <a:gd name="connsiteY73" fmla="*/ 9150661 h 10394676"/>
                <a:gd name="connsiteX74" fmla="*/ 3978754 w 10375356"/>
                <a:gd name="connsiteY74" fmla="*/ 9150661 h 10394676"/>
                <a:gd name="connsiteX75" fmla="*/ 3815700 w 10375356"/>
                <a:gd name="connsiteY75" fmla="*/ 9313717 h 10394676"/>
                <a:gd name="connsiteX76" fmla="*/ 3978754 w 10375356"/>
                <a:gd name="connsiteY76" fmla="*/ 9476773 h 10394676"/>
                <a:gd name="connsiteX77" fmla="*/ 4141811 w 10375356"/>
                <a:gd name="connsiteY77" fmla="*/ 9313717 h 10394676"/>
                <a:gd name="connsiteX78" fmla="*/ 3978754 w 10375356"/>
                <a:gd name="connsiteY78" fmla="*/ 9150661 h 10394676"/>
                <a:gd name="connsiteX79" fmla="*/ 7232175 w 10375356"/>
                <a:gd name="connsiteY79" fmla="*/ 9057669 h 10394676"/>
                <a:gd name="connsiteX80" fmla="*/ 7334085 w 10375356"/>
                <a:gd name="connsiteY80" fmla="*/ 9057669 h 10394676"/>
                <a:gd name="connsiteX81" fmla="*/ 7334085 w 10375356"/>
                <a:gd name="connsiteY81" fmla="*/ 9568493 h 10394676"/>
                <a:gd name="connsiteX82" fmla="*/ 7232175 w 10375356"/>
                <a:gd name="connsiteY82" fmla="*/ 9568493 h 10394676"/>
                <a:gd name="connsiteX83" fmla="*/ 2280685 w 10375356"/>
                <a:gd name="connsiteY83" fmla="*/ 9057669 h 10394676"/>
                <a:gd name="connsiteX84" fmla="*/ 2382595 w 10375356"/>
                <a:gd name="connsiteY84" fmla="*/ 9057669 h 10394676"/>
                <a:gd name="connsiteX85" fmla="*/ 2382595 w 10375356"/>
                <a:gd name="connsiteY85" fmla="*/ 9568493 h 10394676"/>
                <a:gd name="connsiteX86" fmla="*/ 2374638 w 10375356"/>
                <a:gd name="connsiteY86" fmla="*/ 9568493 h 10394676"/>
                <a:gd name="connsiteX87" fmla="*/ 2297278 w 10375356"/>
                <a:gd name="connsiteY87" fmla="*/ 9518899 h 10394676"/>
                <a:gd name="connsiteX88" fmla="*/ 2280685 w 10375356"/>
                <a:gd name="connsiteY88" fmla="*/ 9507099 h 10394676"/>
                <a:gd name="connsiteX89" fmla="*/ 6450017 w 10375356"/>
                <a:gd name="connsiteY89" fmla="*/ 9048751 h 10394676"/>
                <a:gd name="connsiteX90" fmla="*/ 6714982 w 10375356"/>
                <a:gd name="connsiteY90" fmla="*/ 9313717 h 10394676"/>
                <a:gd name="connsiteX91" fmla="*/ 6450017 w 10375356"/>
                <a:gd name="connsiteY91" fmla="*/ 9578681 h 10394676"/>
                <a:gd name="connsiteX92" fmla="*/ 6185052 w 10375356"/>
                <a:gd name="connsiteY92" fmla="*/ 9313717 h 10394676"/>
                <a:gd name="connsiteX93" fmla="*/ 6450017 w 10375356"/>
                <a:gd name="connsiteY93" fmla="*/ 9048751 h 10394676"/>
                <a:gd name="connsiteX94" fmla="*/ 3978754 w 10375356"/>
                <a:gd name="connsiteY94" fmla="*/ 9048751 h 10394676"/>
                <a:gd name="connsiteX95" fmla="*/ 4243720 w 10375356"/>
                <a:gd name="connsiteY95" fmla="*/ 9313717 h 10394676"/>
                <a:gd name="connsiteX96" fmla="*/ 3978754 w 10375356"/>
                <a:gd name="connsiteY96" fmla="*/ 9578681 h 10394676"/>
                <a:gd name="connsiteX97" fmla="*/ 3713789 w 10375356"/>
                <a:gd name="connsiteY97" fmla="*/ 9313717 h 10394676"/>
                <a:gd name="connsiteX98" fmla="*/ 3978754 w 10375356"/>
                <a:gd name="connsiteY98" fmla="*/ 9048751 h 10394676"/>
                <a:gd name="connsiteX99" fmla="*/ 5676776 w 10375356"/>
                <a:gd name="connsiteY99" fmla="*/ 8665264 h 10394676"/>
                <a:gd name="connsiteX100" fmla="*/ 5676776 w 10375356"/>
                <a:gd name="connsiteY100" fmla="*/ 8745569 h 10394676"/>
                <a:gd name="connsiteX101" fmla="*/ 5574867 w 10375356"/>
                <a:gd name="connsiteY101" fmla="*/ 8745569 h 10394676"/>
                <a:gd name="connsiteX102" fmla="*/ 5574867 w 10375356"/>
                <a:gd name="connsiteY102" fmla="*/ 8678214 h 10394676"/>
                <a:gd name="connsiteX103" fmla="*/ 3918880 w 10375356"/>
                <a:gd name="connsiteY103" fmla="*/ 8449859 h 10394676"/>
                <a:gd name="connsiteX104" fmla="*/ 4007509 w 10375356"/>
                <a:gd name="connsiteY104" fmla="*/ 8484804 h 10394676"/>
                <a:gd name="connsiteX105" fmla="*/ 4020789 w 10375356"/>
                <a:gd name="connsiteY105" fmla="*/ 8489298 h 10394676"/>
                <a:gd name="connsiteX106" fmla="*/ 4020789 w 10375356"/>
                <a:gd name="connsiteY106" fmla="*/ 8745569 h 10394676"/>
                <a:gd name="connsiteX107" fmla="*/ 3918880 w 10375356"/>
                <a:gd name="connsiteY107" fmla="*/ 8745569 h 10394676"/>
                <a:gd name="connsiteX108" fmla="*/ 7018165 w 10375356"/>
                <a:gd name="connsiteY108" fmla="*/ 8438567 h 10394676"/>
                <a:gd name="connsiteX109" fmla="*/ 7528988 w 10375356"/>
                <a:gd name="connsiteY109" fmla="*/ 8438567 h 10394676"/>
                <a:gd name="connsiteX110" fmla="*/ 7528988 w 10375356"/>
                <a:gd name="connsiteY110" fmla="*/ 8540477 h 10394676"/>
                <a:gd name="connsiteX111" fmla="*/ 7018165 w 10375356"/>
                <a:gd name="connsiteY111" fmla="*/ 8540477 h 10394676"/>
                <a:gd name="connsiteX112" fmla="*/ 6530840 w 10375356"/>
                <a:gd name="connsiteY112" fmla="*/ 8438567 h 10394676"/>
                <a:gd name="connsiteX113" fmla="*/ 6697148 w 10375356"/>
                <a:gd name="connsiteY113" fmla="*/ 8438567 h 10394676"/>
                <a:gd name="connsiteX114" fmla="*/ 6697148 w 10375356"/>
                <a:gd name="connsiteY114" fmla="*/ 8540477 h 10394676"/>
                <a:gd name="connsiteX115" fmla="*/ 6248661 w 10375356"/>
                <a:gd name="connsiteY115" fmla="*/ 8540477 h 10394676"/>
                <a:gd name="connsiteX116" fmla="*/ 6251001 w 10375356"/>
                <a:gd name="connsiteY116" fmla="*/ 8539813 h 10394676"/>
                <a:gd name="connsiteX117" fmla="*/ 6413573 w 10375356"/>
                <a:gd name="connsiteY117" fmla="*/ 8484804 h 10394676"/>
                <a:gd name="connsiteX118" fmla="*/ 2066673 w 10375356"/>
                <a:gd name="connsiteY118" fmla="*/ 8438567 h 10394676"/>
                <a:gd name="connsiteX119" fmla="*/ 2577496 w 10375356"/>
                <a:gd name="connsiteY119" fmla="*/ 8438567 h 10394676"/>
                <a:gd name="connsiteX120" fmla="*/ 2577496 w 10375356"/>
                <a:gd name="connsiteY120" fmla="*/ 8540477 h 10394676"/>
                <a:gd name="connsiteX121" fmla="*/ 2066673 w 10375356"/>
                <a:gd name="connsiteY121" fmla="*/ 8540477 h 10394676"/>
                <a:gd name="connsiteX122" fmla="*/ 1234837 w 10375356"/>
                <a:gd name="connsiteY122" fmla="*/ 8438567 h 10394676"/>
                <a:gd name="connsiteX123" fmla="*/ 1745660 w 10375356"/>
                <a:gd name="connsiteY123" fmla="*/ 8438567 h 10394676"/>
                <a:gd name="connsiteX124" fmla="*/ 1745660 w 10375356"/>
                <a:gd name="connsiteY124" fmla="*/ 8540477 h 10394676"/>
                <a:gd name="connsiteX125" fmla="*/ 1234837 w 10375356"/>
                <a:gd name="connsiteY125" fmla="*/ 8540477 h 10394676"/>
                <a:gd name="connsiteX126" fmla="*/ 8870376 w 10375356"/>
                <a:gd name="connsiteY126" fmla="*/ 8234747 h 10394676"/>
                <a:gd name="connsiteX127" fmla="*/ 8972285 w 10375356"/>
                <a:gd name="connsiteY127" fmla="*/ 8234747 h 10394676"/>
                <a:gd name="connsiteX128" fmla="*/ 8972285 w 10375356"/>
                <a:gd name="connsiteY128" fmla="*/ 8745569 h 10394676"/>
                <a:gd name="connsiteX129" fmla="*/ 8870376 w 10375356"/>
                <a:gd name="connsiteY129" fmla="*/ 8745569 h 10394676"/>
                <a:gd name="connsiteX130" fmla="*/ 8046180 w 10375356"/>
                <a:gd name="connsiteY130" fmla="*/ 8234747 h 10394676"/>
                <a:gd name="connsiteX131" fmla="*/ 8148089 w 10375356"/>
                <a:gd name="connsiteY131" fmla="*/ 8234747 h 10394676"/>
                <a:gd name="connsiteX132" fmla="*/ 8148089 w 10375356"/>
                <a:gd name="connsiteY132" fmla="*/ 8745569 h 10394676"/>
                <a:gd name="connsiteX133" fmla="*/ 8046180 w 10375356"/>
                <a:gd name="connsiteY133" fmla="*/ 8745569 h 10394676"/>
                <a:gd name="connsiteX134" fmla="*/ 3094685 w 10375356"/>
                <a:gd name="connsiteY134" fmla="*/ 8234747 h 10394676"/>
                <a:gd name="connsiteX135" fmla="*/ 3196595 w 10375356"/>
                <a:gd name="connsiteY135" fmla="*/ 8234747 h 10394676"/>
                <a:gd name="connsiteX136" fmla="*/ 3196595 w 10375356"/>
                <a:gd name="connsiteY136" fmla="*/ 8745569 h 10394676"/>
                <a:gd name="connsiteX137" fmla="*/ 3094685 w 10375356"/>
                <a:gd name="connsiteY137" fmla="*/ 8745569 h 10394676"/>
                <a:gd name="connsiteX138" fmla="*/ 9489477 w 10375356"/>
                <a:gd name="connsiteY138" fmla="*/ 7615645 h 10394676"/>
                <a:gd name="connsiteX139" fmla="*/ 9824110 w 10375356"/>
                <a:gd name="connsiteY139" fmla="*/ 7615645 h 10394676"/>
                <a:gd name="connsiteX140" fmla="*/ 9792198 w 10375356"/>
                <a:gd name="connsiteY140" fmla="*/ 7681890 h 10394676"/>
                <a:gd name="connsiteX141" fmla="*/ 9770531 w 10375356"/>
                <a:gd name="connsiteY141" fmla="*/ 7717555 h 10394676"/>
                <a:gd name="connsiteX142" fmla="*/ 9489477 w 10375356"/>
                <a:gd name="connsiteY142" fmla="*/ 7717555 h 10394676"/>
                <a:gd name="connsiteX143" fmla="*/ 8666557 w 10375356"/>
                <a:gd name="connsiteY143" fmla="*/ 7615645 h 10394676"/>
                <a:gd name="connsiteX144" fmla="*/ 9177379 w 10375356"/>
                <a:gd name="connsiteY144" fmla="*/ 7615645 h 10394676"/>
                <a:gd name="connsiteX145" fmla="*/ 9177379 w 10375356"/>
                <a:gd name="connsiteY145" fmla="*/ 7717555 h 10394676"/>
                <a:gd name="connsiteX146" fmla="*/ 8666557 w 10375356"/>
                <a:gd name="connsiteY146" fmla="*/ 7717555 h 10394676"/>
                <a:gd name="connsiteX147" fmla="*/ 2322721 w 10375356"/>
                <a:gd name="connsiteY147" fmla="*/ 7503545 h 10394676"/>
                <a:gd name="connsiteX148" fmla="*/ 2159665 w 10375356"/>
                <a:gd name="connsiteY148" fmla="*/ 7666599 h 10394676"/>
                <a:gd name="connsiteX149" fmla="*/ 2322721 w 10375356"/>
                <a:gd name="connsiteY149" fmla="*/ 7829655 h 10394676"/>
                <a:gd name="connsiteX150" fmla="*/ 2485776 w 10375356"/>
                <a:gd name="connsiteY150" fmla="*/ 7666599 h 10394676"/>
                <a:gd name="connsiteX151" fmla="*/ 2322721 w 10375356"/>
                <a:gd name="connsiteY151" fmla="*/ 7503545 h 10394676"/>
                <a:gd name="connsiteX152" fmla="*/ 8046180 w 10375356"/>
                <a:gd name="connsiteY152" fmla="*/ 7410553 h 10394676"/>
                <a:gd name="connsiteX153" fmla="*/ 8148089 w 10375356"/>
                <a:gd name="connsiteY153" fmla="*/ 7410553 h 10394676"/>
                <a:gd name="connsiteX154" fmla="*/ 8148089 w 10375356"/>
                <a:gd name="connsiteY154" fmla="*/ 7921375 h 10394676"/>
                <a:gd name="connsiteX155" fmla="*/ 8046180 w 10375356"/>
                <a:gd name="connsiteY155" fmla="*/ 7921375 h 10394676"/>
                <a:gd name="connsiteX156" fmla="*/ 1447573 w 10375356"/>
                <a:gd name="connsiteY156" fmla="*/ 7410553 h 10394676"/>
                <a:gd name="connsiteX157" fmla="*/ 1549483 w 10375356"/>
                <a:gd name="connsiteY157" fmla="*/ 7410553 h 10394676"/>
                <a:gd name="connsiteX158" fmla="*/ 1549483 w 10375356"/>
                <a:gd name="connsiteY158" fmla="*/ 7921375 h 10394676"/>
                <a:gd name="connsiteX159" fmla="*/ 1447573 w 10375356"/>
                <a:gd name="connsiteY159" fmla="*/ 7921375 h 10394676"/>
                <a:gd name="connsiteX160" fmla="*/ 2322721 w 10375356"/>
                <a:gd name="connsiteY160" fmla="*/ 7401633 h 10394676"/>
                <a:gd name="connsiteX161" fmla="*/ 2587686 w 10375356"/>
                <a:gd name="connsiteY161" fmla="*/ 7666599 h 10394676"/>
                <a:gd name="connsiteX162" fmla="*/ 2322721 w 10375356"/>
                <a:gd name="connsiteY162" fmla="*/ 7931565 h 10394676"/>
                <a:gd name="connsiteX163" fmla="*/ 2057755 w 10375356"/>
                <a:gd name="connsiteY163" fmla="*/ 7666599 h 10394676"/>
                <a:gd name="connsiteX164" fmla="*/ 2322721 w 10375356"/>
                <a:gd name="connsiteY164" fmla="*/ 7401633 h 10394676"/>
                <a:gd name="connsiteX165" fmla="*/ 674333 w 10375356"/>
                <a:gd name="connsiteY165" fmla="*/ 7401633 h 10394676"/>
                <a:gd name="connsiteX166" fmla="*/ 939299 w 10375356"/>
                <a:gd name="connsiteY166" fmla="*/ 7666599 h 10394676"/>
                <a:gd name="connsiteX167" fmla="*/ 777537 w 10375356"/>
                <a:gd name="connsiteY167" fmla="*/ 7910765 h 10394676"/>
                <a:gd name="connsiteX168" fmla="*/ 769452 w 10375356"/>
                <a:gd name="connsiteY168" fmla="*/ 7913271 h 10394676"/>
                <a:gd name="connsiteX169" fmla="*/ 713980 w 10375356"/>
                <a:gd name="connsiteY169" fmla="*/ 7821961 h 10394676"/>
                <a:gd name="connsiteX170" fmla="*/ 739241 w 10375356"/>
                <a:gd name="connsiteY170" fmla="*/ 7816897 h 10394676"/>
                <a:gd name="connsiteX171" fmla="*/ 838662 w 10375356"/>
                <a:gd name="connsiteY171" fmla="*/ 7666599 h 10394676"/>
                <a:gd name="connsiteX172" fmla="*/ 675607 w 10375356"/>
                <a:gd name="connsiteY172" fmla="*/ 7503545 h 10394676"/>
                <a:gd name="connsiteX173" fmla="*/ 611973 w 10375356"/>
                <a:gd name="connsiteY173" fmla="*/ 7516304 h 10394676"/>
                <a:gd name="connsiteX174" fmla="*/ 564501 w 10375356"/>
                <a:gd name="connsiteY174" fmla="*/ 7548238 h 10394676"/>
                <a:gd name="connsiteX175" fmla="*/ 518632 w 10375356"/>
                <a:gd name="connsiteY175" fmla="*/ 7453019 h 10394676"/>
                <a:gd name="connsiteX176" fmla="*/ 526119 w 10375356"/>
                <a:gd name="connsiteY176" fmla="*/ 7446844 h 10394676"/>
                <a:gd name="connsiteX177" fmla="*/ 674333 w 10375356"/>
                <a:gd name="connsiteY177" fmla="*/ 7401633 h 10394676"/>
                <a:gd name="connsiteX178" fmla="*/ 8148089 w 10375356"/>
                <a:gd name="connsiteY178" fmla="*/ 7094869 h 10394676"/>
                <a:gd name="connsiteX179" fmla="*/ 8148089 w 10375356"/>
                <a:gd name="connsiteY179" fmla="*/ 7097179 h 10394676"/>
                <a:gd name="connsiteX180" fmla="*/ 8146686 w 10375356"/>
                <a:gd name="connsiteY180" fmla="*/ 7097179 h 10394676"/>
                <a:gd name="connsiteX181" fmla="*/ 8665281 w 10375356"/>
                <a:gd name="connsiteY181" fmla="*/ 6791449 h 10394676"/>
                <a:gd name="connsiteX182" fmla="*/ 9176104 w 10375356"/>
                <a:gd name="connsiteY182" fmla="*/ 6791449 h 10394676"/>
                <a:gd name="connsiteX183" fmla="*/ 9176104 w 10375356"/>
                <a:gd name="connsiteY183" fmla="*/ 6893357 h 10394676"/>
                <a:gd name="connsiteX184" fmla="*/ 8665281 w 10375356"/>
                <a:gd name="connsiteY184" fmla="*/ 6893357 h 10394676"/>
                <a:gd name="connsiteX185" fmla="*/ 2066681 w 10375356"/>
                <a:gd name="connsiteY185" fmla="*/ 6791449 h 10394676"/>
                <a:gd name="connsiteX186" fmla="*/ 2098040 w 10375356"/>
                <a:gd name="connsiteY186" fmla="*/ 6791449 h 10394676"/>
                <a:gd name="connsiteX187" fmla="*/ 2133958 w 10375356"/>
                <a:gd name="connsiteY187" fmla="*/ 6866010 h 10394676"/>
                <a:gd name="connsiteX188" fmla="*/ 2150572 w 10375356"/>
                <a:gd name="connsiteY188" fmla="*/ 6893357 h 10394676"/>
                <a:gd name="connsiteX189" fmla="*/ 2066681 w 10375356"/>
                <a:gd name="connsiteY189" fmla="*/ 6893357 h 10394676"/>
                <a:gd name="connsiteX190" fmla="*/ 419562 w 10375356"/>
                <a:gd name="connsiteY190" fmla="*/ 6791449 h 10394676"/>
                <a:gd name="connsiteX191" fmla="*/ 930385 w 10375356"/>
                <a:gd name="connsiteY191" fmla="*/ 6791449 h 10394676"/>
                <a:gd name="connsiteX192" fmla="*/ 930385 w 10375356"/>
                <a:gd name="connsiteY192" fmla="*/ 6893357 h 10394676"/>
                <a:gd name="connsiteX193" fmla="*/ 419562 w 10375356"/>
                <a:gd name="connsiteY193" fmla="*/ 6893357 h 10394676"/>
                <a:gd name="connsiteX194" fmla="*/ 9745526 w 10375356"/>
                <a:gd name="connsiteY194" fmla="*/ 6679349 h 10394676"/>
                <a:gd name="connsiteX195" fmla="*/ 9582469 w 10375356"/>
                <a:gd name="connsiteY195" fmla="*/ 6842405 h 10394676"/>
                <a:gd name="connsiteX196" fmla="*/ 9745526 w 10375356"/>
                <a:gd name="connsiteY196" fmla="*/ 7005461 h 10394676"/>
                <a:gd name="connsiteX197" fmla="*/ 9908582 w 10375356"/>
                <a:gd name="connsiteY197" fmla="*/ 6842405 h 10394676"/>
                <a:gd name="connsiteX198" fmla="*/ 9745526 w 10375356"/>
                <a:gd name="connsiteY198" fmla="*/ 6679349 h 10394676"/>
                <a:gd name="connsiteX199" fmla="*/ 1498533 w 10375356"/>
                <a:gd name="connsiteY199" fmla="*/ 6679349 h 10394676"/>
                <a:gd name="connsiteX200" fmla="*/ 1335477 w 10375356"/>
                <a:gd name="connsiteY200" fmla="*/ 6842405 h 10394676"/>
                <a:gd name="connsiteX201" fmla="*/ 1498533 w 10375356"/>
                <a:gd name="connsiteY201" fmla="*/ 7005461 h 10394676"/>
                <a:gd name="connsiteX202" fmla="*/ 1661588 w 10375356"/>
                <a:gd name="connsiteY202" fmla="*/ 6842405 h 10394676"/>
                <a:gd name="connsiteX203" fmla="*/ 1498533 w 10375356"/>
                <a:gd name="connsiteY203" fmla="*/ 6679349 h 10394676"/>
                <a:gd name="connsiteX204" fmla="*/ 9744252 w 10375356"/>
                <a:gd name="connsiteY204" fmla="*/ 6577439 h 10394676"/>
                <a:gd name="connsiteX205" fmla="*/ 10009217 w 10375356"/>
                <a:gd name="connsiteY205" fmla="*/ 6842405 h 10394676"/>
                <a:gd name="connsiteX206" fmla="*/ 9744252 w 10375356"/>
                <a:gd name="connsiteY206" fmla="*/ 7107369 h 10394676"/>
                <a:gd name="connsiteX207" fmla="*/ 9479286 w 10375356"/>
                <a:gd name="connsiteY207" fmla="*/ 6842405 h 10394676"/>
                <a:gd name="connsiteX208" fmla="*/ 9744252 w 10375356"/>
                <a:gd name="connsiteY208" fmla="*/ 6577439 h 10394676"/>
                <a:gd name="connsiteX209" fmla="*/ 1499807 w 10375356"/>
                <a:gd name="connsiteY209" fmla="*/ 6577439 h 10394676"/>
                <a:gd name="connsiteX210" fmla="*/ 1764771 w 10375356"/>
                <a:gd name="connsiteY210" fmla="*/ 6842405 h 10394676"/>
                <a:gd name="connsiteX211" fmla="*/ 1499807 w 10375356"/>
                <a:gd name="connsiteY211" fmla="*/ 7107369 h 10394676"/>
                <a:gd name="connsiteX212" fmla="*/ 1234841 w 10375356"/>
                <a:gd name="connsiteY212" fmla="*/ 6842405 h 10394676"/>
                <a:gd name="connsiteX213" fmla="*/ 1499807 w 10375356"/>
                <a:gd name="connsiteY213" fmla="*/ 6577439 h 10394676"/>
                <a:gd name="connsiteX214" fmla="*/ 8921331 w 10375356"/>
                <a:gd name="connsiteY214" fmla="*/ 5855153 h 10394676"/>
                <a:gd name="connsiteX215" fmla="*/ 8758274 w 10375356"/>
                <a:gd name="connsiteY215" fmla="*/ 6018209 h 10394676"/>
                <a:gd name="connsiteX216" fmla="*/ 8921331 w 10375356"/>
                <a:gd name="connsiteY216" fmla="*/ 6181265 h 10394676"/>
                <a:gd name="connsiteX217" fmla="*/ 9084385 w 10375356"/>
                <a:gd name="connsiteY217" fmla="*/ 6018209 h 10394676"/>
                <a:gd name="connsiteX218" fmla="*/ 8921331 w 10375356"/>
                <a:gd name="connsiteY218" fmla="*/ 5855153 h 10394676"/>
                <a:gd name="connsiteX219" fmla="*/ 674337 w 10375356"/>
                <a:gd name="connsiteY219" fmla="*/ 5855153 h 10394676"/>
                <a:gd name="connsiteX220" fmla="*/ 511282 w 10375356"/>
                <a:gd name="connsiteY220" fmla="*/ 6018209 h 10394676"/>
                <a:gd name="connsiteX221" fmla="*/ 674337 w 10375356"/>
                <a:gd name="connsiteY221" fmla="*/ 6181265 h 10394676"/>
                <a:gd name="connsiteX222" fmla="*/ 837393 w 10375356"/>
                <a:gd name="connsiteY222" fmla="*/ 6018209 h 10394676"/>
                <a:gd name="connsiteX223" fmla="*/ 674337 w 10375356"/>
                <a:gd name="connsiteY223" fmla="*/ 5855153 h 10394676"/>
                <a:gd name="connsiteX224" fmla="*/ 10375356 w 10375356"/>
                <a:gd name="connsiteY224" fmla="*/ 5854333 h 10394676"/>
                <a:gd name="connsiteX225" fmla="*/ 10334572 w 10375356"/>
                <a:gd name="connsiteY225" fmla="*/ 6121561 h 10394676"/>
                <a:gd name="connsiteX226" fmla="*/ 10334472 w 10375356"/>
                <a:gd name="connsiteY226" fmla="*/ 6121413 h 10394676"/>
                <a:gd name="connsiteX227" fmla="*/ 10313672 w 10375356"/>
                <a:gd name="connsiteY227" fmla="*/ 6018209 h 10394676"/>
                <a:gd name="connsiteX228" fmla="*/ 10334472 w 10375356"/>
                <a:gd name="connsiteY228" fmla="*/ 5915005 h 10394676"/>
                <a:gd name="connsiteX229" fmla="*/ 9694571 w 10375356"/>
                <a:gd name="connsiteY229" fmla="*/ 5763433 h 10394676"/>
                <a:gd name="connsiteX230" fmla="*/ 9796481 w 10375356"/>
                <a:gd name="connsiteY230" fmla="*/ 5763433 h 10394676"/>
                <a:gd name="connsiteX231" fmla="*/ 9796481 w 10375356"/>
                <a:gd name="connsiteY231" fmla="*/ 6274257 h 10394676"/>
                <a:gd name="connsiteX232" fmla="*/ 9694571 w 10375356"/>
                <a:gd name="connsiteY232" fmla="*/ 6274257 h 10394676"/>
                <a:gd name="connsiteX233" fmla="*/ 1447575 w 10375356"/>
                <a:gd name="connsiteY233" fmla="*/ 5763433 h 10394676"/>
                <a:gd name="connsiteX234" fmla="*/ 1549485 w 10375356"/>
                <a:gd name="connsiteY234" fmla="*/ 5763433 h 10394676"/>
                <a:gd name="connsiteX235" fmla="*/ 1549485 w 10375356"/>
                <a:gd name="connsiteY235" fmla="*/ 6274257 h 10394676"/>
                <a:gd name="connsiteX236" fmla="*/ 1447575 w 10375356"/>
                <a:gd name="connsiteY236" fmla="*/ 6274257 h 10394676"/>
                <a:gd name="connsiteX237" fmla="*/ 8922604 w 10375356"/>
                <a:gd name="connsiteY237" fmla="*/ 5753243 h 10394676"/>
                <a:gd name="connsiteX238" fmla="*/ 9187569 w 10375356"/>
                <a:gd name="connsiteY238" fmla="*/ 6018209 h 10394676"/>
                <a:gd name="connsiteX239" fmla="*/ 8922604 w 10375356"/>
                <a:gd name="connsiteY239" fmla="*/ 6283173 h 10394676"/>
                <a:gd name="connsiteX240" fmla="*/ 8657638 w 10375356"/>
                <a:gd name="connsiteY240" fmla="*/ 6018209 h 10394676"/>
                <a:gd name="connsiteX241" fmla="*/ 8922604 w 10375356"/>
                <a:gd name="connsiteY241" fmla="*/ 5753243 h 10394676"/>
                <a:gd name="connsiteX242" fmla="*/ 675610 w 10375356"/>
                <a:gd name="connsiteY242" fmla="*/ 5753243 h 10394676"/>
                <a:gd name="connsiteX243" fmla="*/ 940577 w 10375356"/>
                <a:gd name="connsiteY243" fmla="*/ 6018209 h 10394676"/>
                <a:gd name="connsiteX244" fmla="*/ 675610 w 10375356"/>
                <a:gd name="connsiteY244" fmla="*/ 6283173 h 10394676"/>
                <a:gd name="connsiteX245" fmla="*/ 410646 w 10375356"/>
                <a:gd name="connsiteY245" fmla="*/ 6018209 h 10394676"/>
                <a:gd name="connsiteX246" fmla="*/ 675610 w 10375356"/>
                <a:gd name="connsiteY246" fmla="*/ 5753243 h 10394676"/>
                <a:gd name="connsiteX247" fmla="*/ 9489477 w 10375356"/>
                <a:gd name="connsiteY247" fmla="*/ 5143057 h 10394676"/>
                <a:gd name="connsiteX248" fmla="*/ 10000300 w 10375356"/>
                <a:gd name="connsiteY248" fmla="*/ 5143057 h 10394676"/>
                <a:gd name="connsiteX249" fmla="*/ 10000300 w 10375356"/>
                <a:gd name="connsiteY249" fmla="*/ 5244969 h 10394676"/>
                <a:gd name="connsiteX250" fmla="*/ 9489477 w 10375356"/>
                <a:gd name="connsiteY250" fmla="*/ 5244969 h 10394676"/>
                <a:gd name="connsiteX251" fmla="*/ 8706634 w 10375356"/>
                <a:gd name="connsiteY251" fmla="*/ 5143057 h 10394676"/>
                <a:gd name="connsiteX252" fmla="*/ 9176104 w 10375356"/>
                <a:gd name="connsiteY252" fmla="*/ 5143057 h 10394676"/>
                <a:gd name="connsiteX253" fmla="*/ 9176104 w 10375356"/>
                <a:gd name="connsiteY253" fmla="*/ 5244969 h 10394676"/>
                <a:gd name="connsiteX254" fmla="*/ 8707060 w 10375356"/>
                <a:gd name="connsiteY254" fmla="*/ 5244969 h 10394676"/>
                <a:gd name="connsiteX255" fmla="*/ 8709420 w 10375356"/>
                <a:gd name="connsiteY255" fmla="*/ 5198237 h 10394676"/>
                <a:gd name="connsiteX256" fmla="*/ 1242485 w 10375356"/>
                <a:gd name="connsiteY256" fmla="*/ 5143057 h 10394676"/>
                <a:gd name="connsiteX257" fmla="*/ 1714449 w 10375356"/>
                <a:gd name="connsiteY257" fmla="*/ 5143057 h 10394676"/>
                <a:gd name="connsiteX258" fmla="*/ 1711662 w 10375356"/>
                <a:gd name="connsiteY258" fmla="*/ 5198237 h 10394676"/>
                <a:gd name="connsiteX259" fmla="*/ 1714022 w 10375356"/>
                <a:gd name="connsiteY259" fmla="*/ 5244969 h 10394676"/>
                <a:gd name="connsiteX260" fmla="*/ 1242485 w 10375356"/>
                <a:gd name="connsiteY260" fmla="*/ 5244969 h 10394676"/>
                <a:gd name="connsiteX261" fmla="*/ 2787 w 10375356"/>
                <a:gd name="connsiteY261" fmla="*/ 5143057 h 10394676"/>
                <a:gd name="connsiteX262" fmla="*/ 97302 w 10375356"/>
                <a:gd name="connsiteY262" fmla="*/ 5143057 h 10394676"/>
                <a:gd name="connsiteX263" fmla="*/ 97302 w 10375356"/>
                <a:gd name="connsiteY263" fmla="*/ 5244969 h 10394676"/>
                <a:gd name="connsiteX264" fmla="*/ 2360 w 10375356"/>
                <a:gd name="connsiteY264" fmla="*/ 5244969 h 10394676"/>
                <a:gd name="connsiteX265" fmla="*/ 0 w 10375356"/>
                <a:gd name="connsiteY265" fmla="*/ 5198237 h 10394676"/>
                <a:gd name="connsiteX266" fmla="*/ 623389 w 10375356"/>
                <a:gd name="connsiteY266" fmla="*/ 4939239 h 10394676"/>
                <a:gd name="connsiteX267" fmla="*/ 725299 w 10375356"/>
                <a:gd name="connsiteY267" fmla="*/ 4939239 h 10394676"/>
                <a:gd name="connsiteX268" fmla="*/ 725299 w 10375356"/>
                <a:gd name="connsiteY268" fmla="*/ 5450061 h 10394676"/>
                <a:gd name="connsiteX269" fmla="*/ 623389 w 10375356"/>
                <a:gd name="connsiteY269" fmla="*/ 5450061 h 10394676"/>
                <a:gd name="connsiteX270" fmla="*/ 86723 w 10375356"/>
                <a:gd name="connsiteY270" fmla="*/ 4273524 h 10394676"/>
                <a:gd name="connsiteX271" fmla="*/ 106218 w 10375356"/>
                <a:gd name="connsiteY271" fmla="*/ 4371093 h 10394676"/>
                <a:gd name="connsiteX272" fmla="*/ 85418 w 10375356"/>
                <a:gd name="connsiteY272" fmla="*/ 4474296 h 10394676"/>
                <a:gd name="connsiteX273" fmla="*/ 47492 w 10375356"/>
                <a:gd name="connsiteY273" fmla="*/ 4530579 h 10394676"/>
                <a:gd name="connsiteX274" fmla="*/ 9745526 w 10375356"/>
                <a:gd name="connsiteY274" fmla="*/ 4208037 h 10394676"/>
                <a:gd name="connsiteX275" fmla="*/ 9582469 w 10375356"/>
                <a:gd name="connsiteY275" fmla="*/ 4371093 h 10394676"/>
                <a:gd name="connsiteX276" fmla="*/ 9745526 w 10375356"/>
                <a:gd name="connsiteY276" fmla="*/ 4534147 h 10394676"/>
                <a:gd name="connsiteX277" fmla="*/ 9908582 w 10375356"/>
                <a:gd name="connsiteY277" fmla="*/ 4371093 h 10394676"/>
                <a:gd name="connsiteX278" fmla="*/ 9745526 w 10375356"/>
                <a:gd name="connsiteY278" fmla="*/ 4208037 h 10394676"/>
                <a:gd name="connsiteX279" fmla="*/ 1498539 w 10375356"/>
                <a:gd name="connsiteY279" fmla="*/ 4208037 h 10394676"/>
                <a:gd name="connsiteX280" fmla="*/ 1335482 w 10375356"/>
                <a:gd name="connsiteY280" fmla="*/ 4371093 h 10394676"/>
                <a:gd name="connsiteX281" fmla="*/ 1498539 w 10375356"/>
                <a:gd name="connsiteY281" fmla="*/ 4534147 h 10394676"/>
                <a:gd name="connsiteX282" fmla="*/ 1661593 w 10375356"/>
                <a:gd name="connsiteY282" fmla="*/ 4371093 h 10394676"/>
                <a:gd name="connsiteX283" fmla="*/ 1498539 w 10375356"/>
                <a:gd name="connsiteY283" fmla="*/ 4208037 h 10394676"/>
                <a:gd name="connsiteX284" fmla="*/ 8870376 w 10375356"/>
                <a:gd name="connsiteY284" fmla="*/ 4115043 h 10394676"/>
                <a:gd name="connsiteX285" fmla="*/ 8972285 w 10375356"/>
                <a:gd name="connsiteY285" fmla="*/ 4115043 h 10394676"/>
                <a:gd name="connsiteX286" fmla="*/ 8972285 w 10375356"/>
                <a:gd name="connsiteY286" fmla="*/ 4625865 h 10394676"/>
                <a:gd name="connsiteX287" fmla="*/ 8870376 w 10375356"/>
                <a:gd name="connsiteY287" fmla="*/ 4625865 h 10394676"/>
                <a:gd name="connsiteX288" fmla="*/ 623387 w 10375356"/>
                <a:gd name="connsiteY288" fmla="*/ 4115043 h 10394676"/>
                <a:gd name="connsiteX289" fmla="*/ 725297 w 10375356"/>
                <a:gd name="connsiteY289" fmla="*/ 4115043 h 10394676"/>
                <a:gd name="connsiteX290" fmla="*/ 725297 w 10375356"/>
                <a:gd name="connsiteY290" fmla="*/ 4625865 h 10394676"/>
                <a:gd name="connsiteX291" fmla="*/ 623387 w 10375356"/>
                <a:gd name="connsiteY291" fmla="*/ 4625865 h 10394676"/>
                <a:gd name="connsiteX292" fmla="*/ 9744252 w 10375356"/>
                <a:gd name="connsiteY292" fmla="*/ 4106125 h 10394676"/>
                <a:gd name="connsiteX293" fmla="*/ 10009217 w 10375356"/>
                <a:gd name="connsiteY293" fmla="*/ 4371093 h 10394676"/>
                <a:gd name="connsiteX294" fmla="*/ 9744252 w 10375356"/>
                <a:gd name="connsiteY294" fmla="*/ 4636057 h 10394676"/>
                <a:gd name="connsiteX295" fmla="*/ 9479286 w 10375356"/>
                <a:gd name="connsiteY295" fmla="*/ 4371093 h 10394676"/>
                <a:gd name="connsiteX296" fmla="*/ 9744252 w 10375356"/>
                <a:gd name="connsiteY296" fmla="*/ 4106125 h 10394676"/>
                <a:gd name="connsiteX297" fmla="*/ 1499812 w 10375356"/>
                <a:gd name="connsiteY297" fmla="*/ 4106125 h 10394676"/>
                <a:gd name="connsiteX298" fmla="*/ 1764778 w 10375356"/>
                <a:gd name="connsiteY298" fmla="*/ 4371093 h 10394676"/>
                <a:gd name="connsiteX299" fmla="*/ 1499812 w 10375356"/>
                <a:gd name="connsiteY299" fmla="*/ 4636057 h 10394676"/>
                <a:gd name="connsiteX300" fmla="*/ 1234846 w 10375356"/>
                <a:gd name="connsiteY300" fmla="*/ 4371093 h 10394676"/>
                <a:gd name="connsiteX301" fmla="*/ 1499812 w 10375356"/>
                <a:gd name="connsiteY301" fmla="*/ 4106125 h 10394676"/>
                <a:gd name="connsiteX302" fmla="*/ 9489477 w 10375356"/>
                <a:gd name="connsiteY302" fmla="*/ 3495941 h 10394676"/>
                <a:gd name="connsiteX303" fmla="*/ 10000300 w 10375356"/>
                <a:gd name="connsiteY303" fmla="*/ 3495941 h 10394676"/>
                <a:gd name="connsiteX304" fmla="*/ 10000300 w 10375356"/>
                <a:gd name="connsiteY304" fmla="*/ 3597851 h 10394676"/>
                <a:gd name="connsiteX305" fmla="*/ 9489477 w 10375356"/>
                <a:gd name="connsiteY305" fmla="*/ 3597851 h 10394676"/>
                <a:gd name="connsiteX306" fmla="*/ 2066685 w 10375356"/>
                <a:gd name="connsiteY306" fmla="*/ 3495941 h 10394676"/>
                <a:gd name="connsiteX307" fmla="*/ 2154931 w 10375356"/>
                <a:gd name="connsiteY307" fmla="*/ 3495941 h 10394676"/>
                <a:gd name="connsiteX308" fmla="*/ 2133958 w 10375356"/>
                <a:gd name="connsiteY308" fmla="*/ 3530464 h 10394676"/>
                <a:gd name="connsiteX309" fmla="*/ 2101496 w 10375356"/>
                <a:gd name="connsiteY309" fmla="*/ 3597851 h 10394676"/>
                <a:gd name="connsiteX310" fmla="*/ 2066685 w 10375356"/>
                <a:gd name="connsiteY310" fmla="*/ 3597851 h 10394676"/>
                <a:gd name="connsiteX311" fmla="*/ 674343 w 10375356"/>
                <a:gd name="connsiteY311" fmla="*/ 3383841 h 10394676"/>
                <a:gd name="connsiteX312" fmla="*/ 511289 w 10375356"/>
                <a:gd name="connsiteY312" fmla="*/ 3546897 h 10394676"/>
                <a:gd name="connsiteX313" fmla="*/ 674343 w 10375356"/>
                <a:gd name="connsiteY313" fmla="*/ 3709953 h 10394676"/>
                <a:gd name="connsiteX314" fmla="*/ 837399 w 10375356"/>
                <a:gd name="connsiteY314" fmla="*/ 3546897 h 10394676"/>
                <a:gd name="connsiteX315" fmla="*/ 674343 w 10375356"/>
                <a:gd name="connsiteY315" fmla="*/ 3383841 h 10394676"/>
                <a:gd name="connsiteX316" fmla="*/ 8870376 w 10375356"/>
                <a:gd name="connsiteY316" fmla="*/ 3292121 h 10394676"/>
                <a:gd name="connsiteX317" fmla="*/ 8972285 w 10375356"/>
                <a:gd name="connsiteY317" fmla="*/ 3292121 h 10394676"/>
                <a:gd name="connsiteX318" fmla="*/ 8972285 w 10375356"/>
                <a:gd name="connsiteY318" fmla="*/ 3802945 h 10394676"/>
                <a:gd name="connsiteX319" fmla="*/ 8870376 w 10375356"/>
                <a:gd name="connsiteY319" fmla="*/ 3802945 h 10394676"/>
                <a:gd name="connsiteX320" fmla="*/ 8142327 w 10375356"/>
                <a:gd name="connsiteY320" fmla="*/ 3292121 h 10394676"/>
                <a:gd name="connsiteX321" fmla="*/ 8148089 w 10375356"/>
                <a:gd name="connsiteY321" fmla="*/ 3292121 h 10394676"/>
                <a:gd name="connsiteX322" fmla="*/ 8148089 w 10375356"/>
                <a:gd name="connsiteY322" fmla="*/ 3301606 h 10394676"/>
                <a:gd name="connsiteX323" fmla="*/ 1447583 w 10375356"/>
                <a:gd name="connsiteY323" fmla="*/ 3292121 h 10394676"/>
                <a:gd name="connsiteX324" fmla="*/ 1549493 w 10375356"/>
                <a:gd name="connsiteY324" fmla="*/ 3292121 h 10394676"/>
                <a:gd name="connsiteX325" fmla="*/ 1549493 w 10375356"/>
                <a:gd name="connsiteY325" fmla="*/ 3802945 h 10394676"/>
                <a:gd name="connsiteX326" fmla="*/ 1447583 w 10375356"/>
                <a:gd name="connsiteY326" fmla="*/ 3802945 h 10394676"/>
                <a:gd name="connsiteX327" fmla="*/ 675617 w 10375356"/>
                <a:gd name="connsiteY327" fmla="*/ 3281931 h 10394676"/>
                <a:gd name="connsiteX328" fmla="*/ 940583 w 10375356"/>
                <a:gd name="connsiteY328" fmla="*/ 3546897 h 10394676"/>
                <a:gd name="connsiteX329" fmla="*/ 675617 w 10375356"/>
                <a:gd name="connsiteY329" fmla="*/ 3811861 h 10394676"/>
                <a:gd name="connsiteX330" fmla="*/ 410652 w 10375356"/>
                <a:gd name="connsiteY330" fmla="*/ 3546897 h 10394676"/>
                <a:gd name="connsiteX331" fmla="*/ 675617 w 10375356"/>
                <a:gd name="connsiteY331" fmla="*/ 3281931 h 10394676"/>
                <a:gd name="connsiteX332" fmla="*/ 1242482 w 10375356"/>
                <a:gd name="connsiteY332" fmla="*/ 2671745 h 10394676"/>
                <a:gd name="connsiteX333" fmla="*/ 1753305 w 10375356"/>
                <a:gd name="connsiteY333" fmla="*/ 2671745 h 10394676"/>
                <a:gd name="connsiteX334" fmla="*/ 1753305 w 10375356"/>
                <a:gd name="connsiteY334" fmla="*/ 2773657 h 10394676"/>
                <a:gd name="connsiteX335" fmla="*/ 1242482 w 10375356"/>
                <a:gd name="connsiteY335" fmla="*/ 2773657 h 10394676"/>
                <a:gd name="connsiteX336" fmla="*/ 8921331 w 10375356"/>
                <a:gd name="connsiteY336" fmla="*/ 2560919 h 10394676"/>
                <a:gd name="connsiteX337" fmla="*/ 8758275 w 10375356"/>
                <a:gd name="connsiteY337" fmla="*/ 2723975 h 10394676"/>
                <a:gd name="connsiteX338" fmla="*/ 8921331 w 10375356"/>
                <a:gd name="connsiteY338" fmla="*/ 2887029 h 10394676"/>
                <a:gd name="connsiteX339" fmla="*/ 9084386 w 10375356"/>
                <a:gd name="connsiteY339" fmla="*/ 2723975 h 10394676"/>
                <a:gd name="connsiteX340" fmla="*/ 8921331 w 10375356"/>
                <a:gd name="connsiteY340" fmla="*/ 2560919 h 10394676"/>
                <a:gd name="connsiteX341" fmla="*/ 2322726 w 10375356"/>
                <a:gd name="connsiteY341" fmla="*/ 2560919 h 10394676"/>
                <a:gd name="connsiteX342" fmla="*/ 2159671 w 10375356"/>
                <a:gd name="connsiteY342" fmla="*/ 2723975 h 10394676"/>
                <a:gd name="connsiteX343" fmla="*/ 2322726 w 10375356"/>
                <a:gd name="connsiteY343" fmla="*/ 2887029 h 10394676"/>
                <a:gd name="connsiteX344" fmla="*/ 2485782 w 10375356"/>
                <a:gd name="connsiteY344" fmla="*/ 2723975 h 10394676"/>
                <a:gd name="connsiteX345" fmla="*/ 2322726 w 10375356"/>
                <a:gd name="connsiteY345" fmla="*/ 2560919 h 10394676"/>
                <a:gd name="connsiteX346" fmla="*/ 9694571 w 10375356"/>
                <a:gd name="connsiteY346" fmla="*/ 2553886 h 10394676"/>
                <a:gd name="connsiteX347" fmla="*/ 9792198 w 10375356"/>
                <a:gd name="connsiteY347" fmla="*/ 2714584 h 10394676"/>
                <a:gd name="connsiteX348" fmla="*/ 9796481 w 10375356"/>
                <a:gd name="connsiteY348" fmla="*/ 2723476 h 10394676"/>
                <a:gd name="connsiteX349" fmla="*/ 9796481 w 10375356"/>
                <a:gd name="connsiteY349" fmla="*/ 2978749 h 10394676"/>
                <a:gd name="connsiteX350" fmla="*/ 9694571 w 10375356"/>
                <a:gd name="connsiteY350" fmla="*/ 2978749 h 10394676"/>
                <a:gd name="connsiteX351" fmla="*/ 772671 w 10375356"/>
                <a:gd name="connsiteY351" fmla="*/ 2477905 h 10394676"/>
                <a:gd name="connsiteX352" fmla="*/ 778813 w 10375356"/>
                <a:gd name="connsiteY352" fmla="*/ 2479809 h 10394676"/>
                <a:gd name="connsiteX353" fmla="*/ 940575 w 10375356"/>
                <a:gd name="connsiteY353" fmla="*/ 2723975 h 10394676"/>
                <a:gd name="connsiteX354" fmla="*/ 675608 w 10375356"/>
                <a:gd name="connsiteY354" fmla="*/ 2988941 h 10394676"/>
                <a:gd name="connsiteX355" fmla="*/ 527394 w 10375356"/>
                <a:gd name="connsiteY355" fmla="*/ 2942835 h 10394676"/>
                <a:gd name="connsiteX356" fmla="*/ 521341 w 10375356"/>
                <a:gd name="connsiteY356" fmla="*/ 2937832 h 10394676"/>
                <a:gd name="connsiteX357" fmla="*/ 566336 w 10375356"/>
                <a:gd name="connsiteY357" fmla="*/ 2844427 h 10394676"/>
                <a:gd name="connsiteX358" fmla="*/ 610701 w 10375356"/>
                <a:gd name="connsiteY358" fmla="*/ 2874271 h 10394676"/>
                <a:gd name="connsiteX359" fmla="*/ 674334 w 10375356"/>
                <a:gd name="connsiteY359" fmla="*/ 2887029 h 10394676"/>
                <a:gd name="connsiteX360" fmla="*/ 837390 w 10375356"/>
                <a:gd name="connsiteY360" fmla="*/ 2723975 h 10394676"/>
                <a:gd name="connsiteX361" fmla="*/ 737968 w 10375356"/>
                <a:gd name="connsiteY361" fmla="*/ 2573678 h 10394676"/>
                <a:gd name="connsiteX362" fmla="*/ 717037 w 10375356"/>
                <a:gd name="connsiteY362" fmla="*/ 2569481 h 10394676"/>
                <a:gd name="connsiteX363" fmla="*/ 8046180 w 10375356"/>
                <a:gd name="connsiteY363" fmla="*/ 2467925 h 10394676"/>
                <a:gd name="connsiteX364" fmla="*/ 8148089 w 10375356"/>
                <a:gd name="connsiteY364" fmla="*/ 2467925 h 10394676"/>
                <a:gd name="connsiteX365" fmla="*/ 8148089 w 10375356"/>
                <a:gd name="connsiteY365" fmla="*/ 2978749 h 10394676"/>
                <a:gd name="connsiteX366" fmla="*/ 8046180 w 10375356"/>
                <a:gd name="connsiteY366" fmla="*/ 2978749 h 10394676"/>
                <a:gd name="connsiteX367" fmla="*/ 8921331 w 10375356"/>
                <a:gd name="connsiteY367" fmla="*/ 2459009 h 10394676"/>
                <a:gd name="connsiteX368" fmla="*/ 9186296 w 10375356"/>
                <a:gd name="connsiteY368" fmla="*/ 2723975 h 10394676"/>
                <a:gd name="connsiteX369" fmla="*/ 8921331 w 10375356"/>
                <a:gd name="connsiteY369" fmla="*/ 2988941 h 10394676"/>
                <a:gd name="connsiteX370" fmla="*/ 8656365 w 10375356"/>
                <a:gd name="connsiteY370" fmla="*/ 2723975 h 10394676"/>
                <a:gd name="connsiteX371" fmla="*/ 8921331 w 10375356"/>
                <a:gd name="connsiteY371" fmla="*/ 2459009 h 10394676"/>
                <a:gd name="connsiteX372" fmla="*/ 2322726 w 10375356"/>
                <a:gd name="connsiteY372" fmla="*/ 2459009 h 10394676"/>
                <a:gd name="connsiteX373" fmla="*/ 2587692 w 10375356"/>
                <a:gd name="connsiteY373" fmla="*/ 2723975 h 10394676"/>
                <a:gd name="connsiteX374" fmla="*/ 2322726 w 10375356"/>
                <a:gd name="connsiteY374" fmla="*/ 2988941 h 10394676"/>
                <a:gd name="connsiteX375" fmla="*/ 2057761 w 10375356"/>
                <a:gd name="connsiteY375" fmla="*/ 2723975 h 10394676"/>
                <a:gd name="connsiteX376" fmla="*/ 2322726 w 10375356"/>
                <a:gd name="connsiteY376" fmla="*/ 2459009 h 10394676"/>
                <a:gd name="connsiteX377" fmla="*/ 7842360 w 10375356"/>
                <a:gd name="connsiteY377" fmla="*/ 1848825 h 10394676"/>
                <a:gd name="connsiteX378" fmla="*/ 8353182 w 10375356"/>
                <a:gd name="connsiteY378" fmla="*/ 1848825 h 10394676"/>
                <a:gd name="connsiteX379" fmla="*/ 8353182 w 10375356"/>
                <a:gd name="connsiteY379" fmla="*/ 1950733 h 10394676"/>
                <a:gd name="connsiteX380" fmla="*/ 7842360 w 10375356"/>
                <a:gd name="connsiteY380" fmla="*/ 1950733 h 10394676"/>
                <a:gd name="connsiteX381" fmla="*/ 6223404 w 10375356"/>
                <a:gd name="connsiteY381" fmla="*/ 1848825 h 10394676"/>
                <a:gd name="connsiteX382" fmla="*/ 6704792 w 10375356"/>
                <a:gd name="connsiteY382" fmla="*/ 1848825 h 10394676"/>
                <a:gd name="connsiteX383" fmla="*/ 6704792 w 10375356"/>
                <a:gd name="connsiteY383" fmla="*/ 1950733 h 10394676"/>
                <a:gd name="connsiteX384" fmla="*/ 6512646 w 10375356"/>
                <a:gd name="connsiteY384" fmla="*/ 1950733 h 10394676"/>
                <a:gd name="connsiteX385" fmla="*/ 6413573 w 10375356"/>
                <a:gd name="connsiteY385" fmla="*/ 1911670 h 10394676"/>
                <a:gd name="connsiteX386" fmla="*/ 6251001 w 10375356"/>
                <a:gd name="connsiteY386" fmla="*/ 1856662 h 10394676"/>
                <a:gd name="connsiteX387" fmla="*/ 2890884 w 10375356"/>
                <a:gd name="connsiteY387" fmla="*/ 1848825 h 10394676"/>
                <a:gd name="connsiteX388" fmla="*/ 3401707 w 10375356"/>
                <a:gd name="connsiteY388" fmla="*/ 1848825 h 10394676"/>
                <a:gd name="connsiteX389" fmla="*/ 3401707 w 10375356"/>
                <a:gd name="connsiteY389" fmla="*/ 1950733 h 10394676"/>
                <a:gd name="connsiteX390" fmla="*/ 2890884 w 10375356"/>
                <a:gd name="connsiteY390" fmla="*/ 1950733 h 10394676"/>
                <a:gd name="connsiteX391" fmla="*/ 1242493 w 10375356"/>
                <a:gd name="connsiteY391" fmla="*/ 1848825 h 10394676"/>
                <a:gd name="connsiteX392" fmla="*/ 1753316 w 10375356"/>
                <a:gd name="connsiteY392" fmla="*/ 1848825 h 10394676"/>
                <a:gd name="connsiteX393" fmla="*/ 1753316 w 10375356"/>
                <a:gd name="connsiteY393" fmla="*/ 1950733 h 10394676"/>
                <a:gd name="connsiteX394" fmla="*/ 1242493 w 10375356"/>
                <a:gd name="connsiteY394" fmla="*/ 1950733 h 10394676"/>
                <a:gd name="connsiteX395" fmla="*/ 8921331 w 10375356"/>
                <a:gd name="connsiteY395" fmla="*/ 1736725 h 10394676"/>
                <a:gd name="connsiteX396" fmla="*/ 8758275 w 10375356"/>
                <a:gd name="connsiteY396" fmla="*/ 1899781 h 10394676"/>
                <a:gd name="connsiteX397" fmla="*/ 8921331 w 10375356"/>
                <a:gd name="connsiteY397" fmla="*/ 2062835 h 10394676"/>
                <a:gd name="connsiteX398" fmla="*/ 9084386 w 10375356"/>
                <a:gd name="connsiteY398" fmla="*/ 1899781 h 10394676"/>
                <a:gd name="connsiteX399" fmla="*/ 8921331 w 10375356"/>
                <a:gd name="connsiteY399" fmla="*/ 1736725 h 10394676"/>
                <a:gd name="connsiteX400" fmla="*/ 7223258 w 10375356"/>
                <a:gd name="connsiteY400" fmla="*/ 1643731 h 10394676"/>
                <a:gd name="connsiteX401" fmla="*/ 7325168 w 10375356"/>
                <a:gd name="connsiteY401" fmla="*/ 1643731 h 10394676"/>
                <a:gd name="connsiteX402" fmla="*/ 7325168 w 10375356"/>
                <a:gd name="connsiteY402" fmla="*/ 2154553 h 10394676"/>
                <a:gd name="connsiteX403" fmla="*/ 7223258 w 10375356"/>
                <a:gd name="connsiteY403" fmla="*/ 2154553 h 10394676"/>
                <a:gd name="connsiteX404" fmla="*/ 2271782 w 10375356"/>
                <a:gd name="connsiteY404" fmla="*/ 1643731 h 10394676"/>
                <a:gd name="connsiteX405" fmla="*/ 2373691 w 10375356"/>
                <a:gd name="connsiteY405" fmla="*/ 1643731 h 10394676"/>
                <a:gd name="connsiteX406" fmla="*/ 2373691 w 10375356"/>
                <a:gd name="connsiteY406" fmla="*/ 2154553 h 10394676"/>
                <a:gd name="connsiteX407" fmla="*/ 2271782 w 10375356"/>
                <a:gd name="connsiteY407" fmla="*/ 2154553 h 10394676"/>
                <a:gd name="connsiteX408" fmla="*/ 8921331 w 10375356"/>
                <a:gd name="connsiteY408" fmla="*/ 1634813 h 10394676"/>
                <a:gd name="connsiteX409" fmla="*/ 9024534 w 10375356"/>
                <a:gd name="connsiteY409" fmla="*/ 1655614 h 10394676"/>
                <a:gd name="connsiteX410" fmla="*/ 9036119 w 10375356"/>
                <a:gd name="connsiteY410" fmla="*/ 1661896 h 10394676"/>
                <a:gd name="connsiteX411" fmla="*/ 9067478 w 10375356"/>
                <a:gd name="connsiteY411" fmla="*/ 1694788 h 10394676"/>
                <a:gd name="connsiteX412" fmla="*/ 9168482 w 10375356"/>
                <a:gd name="connsiteY412" fmla="*/ 1811390 h 10394676"/>
                <a:gd name="connsiteX413" fmla="*/ 9186296 w 10375356"/>
                <a:gd name="connsiteY413" fmla="*/ 1899781 h 10394676"/>
                <a:gd name="connsiteX414" fmla="*/ 8921331 w 10375356"/>
                <a:gd name="connsiteY414" fmla="*/ 2164745 h 10394676"/>
                <a:gd name="connsiteX415" fmla="*/ 8656365 w 10375356"/>
                <a:gd name="connsiteY415" fmla="*/ 1899781 h 10394676"/>
                <a:gd name="connsiteX416" fmla="*/ 8921331 w 10375356"/>
                <a:gd name="connsiteY416" fmla="*/ 1634813 h 10394676"/>
                <a:gd name="connsiteX417" fmla="*/ 3969851 w 10375356"/>
                <a:gd name="connsiteY417" fmla="*/ 1634813 h 10394676"/>
                <a:gd name="connsiteX418" fmla="*/ 4214017 w 10375356"/>
                <a:gd name="connsiteY418" fmla="*/ 1796577 h 10394676"/>
                <a:gd name="connsiteX419" fmla="*/ 4223093 w 10375356"/>
                <a:gd name="connsiteY419" fmla="*/ 1841608 h 10394676"/>
                <a:gd name="connsiteX420" fmla="*/ 4170081 w 10375356"/>
                <a:gd name="connsiteY420" fmla="*/ 1856662 h 10394676"/>
                <a:gd name="connsiteX421" fmla="*/ 4127174 w 10375356"/>
                <a:gd name="connsiteY421" fmla="*/ 1871180 h 10394676"/>
                <a:gd name="connsiteX422" fmla="*/ 4120150 w 10375356"/>
                <a:gd name="connsiteY422" fmla="*/ 1836147 h 10394676"/>
                <a:gd name="connsiteX423" fmla="*/ 3969851 w 10375356"/>
                <a:gd name="connsiteY423" fmla="*/ 1736725 h 10394676"/>
                <a:gd name="connsiteX424" fmla="*/ 3806796 w 10375356"/>
                <a:gd name="connsiteY424" fmla="*/ 1899781 h 10394676"/>
                <a:gd name="connsiteX425" fmla="*/ 3819555 w 10375356"/>
                <a:gd name="connsiteY425" fmla="*/ 1963414 h 10394676"/>
                <a:gd name="connsiteX426" fmla="*/ 3832208 w 10375356"/>
                <a:gd name="connsiteY426" fmla="*/ 1982224 h 10394676"/>
                <a:gd name="connsiteX427" fmla="*/ 3741230 w 10375356"/>
                <a:gd name="connsiteY427" fmla="*/ 2026051 h 10394676"/>
                <a:gd name="connsiteX428" fmla="*/ 3725686 w 10375356"/>
                <a:gd name="connsiteY428" fmla="*/ 2002984 h 10394676"/>
                <a:gd name="connsiteX429" fmla="*/ 3704886 w 10375356"/>
                <a:gd name="connsiteY429" fmla="*/ 1899781 h 10394676"/>
                <a:gd name="connsiteX430" fmla="*/ 3969851 w 10375356"/>
                <a:gd name="connsiteY430" fmla="*/ 1634813 h 10394676"/>
                <a:gd name="connsiteX431" fmla="*/ 7842360 w 10375356"/>
                <a:gd name="connsiteY431" fmla="*/ 1024629 h 10394676"/>
                <a:gd name="connsiteX432" fmla="*/ 8330359 w 10375356"/>
                <a:gd name="connsiteY432" fmla="*/ 1024629 h 10394676"/>
                <a:gd name="connsiteX433" fmla="*/ 8353182 w 10375356"/>
                <a:gd name="connsiteY433" fmla="*/ 1042565 h 10394676"/>
                <a:gd name="connsiteX434" fmla="*/ 8353182 w 10375356"/>
                <a:gd name="connsiteY434" fmla="*/ 1126539 h 10394676"/>
                <a:gd name="connsiteX435" fmla="*/ 7842360 w 10375356"/>
                <a:gd name="connsiteY435" fmla="*/ 1126539 h 10394676"/>
                <a:gd name="connsiteX436" fmla="*/ 5371048 w 10375356"/>
                <a:gd name="connsiteY436" fmla="*/ 1024629 h 10394676"/>
                <a:gd name="connsiteX437" fmla="*/ 5881870 w 10375356"/>
                <a:gd name="connsiteY437" fmla="*/ 1024629 h 10394676"/>
                <a:gd name="connsiteX438" fmla="*/ 5881870 w 10375356"/>
                <a:gd name="connsiteY438" fmla="*/ 1126539 h 10394676"/>
                <a:gd name="connsiteX439" fmla="*/ 5371048 w 10375356"/>
                <a:gd name="connsiteY439" fmla="*/ 1126539 h 10394676"/>
                <a:gd name="connsiteX440" fmla="*/ 4538001 w 10375356"/>
                <a:gd name="connsiteY440" fmla="*/ 1024629 h 10394676"/>
                <a:gd name="connsiteX441" fmla="*/ 5048825 w 10375356"/>
                <a:gd name="connsiteY441" fmla="*/ 1024629 h 10394676"/>
                <a:gd name="connsiteX442" fmla="*/ 5048825 w 10375356"/>
                <a:gd name="connsiteY442" fmla="*/ 1126539 h 10394676"/>
                <a:gd name="connsiteX443" fmla="*/ 4538001 w 10375356"/>
                <a:gd name="connsiteY443" fmla="*/ 1126539 h 10394676"/>
                <a:gd name="connsiteX444" fmla="*/ 2890886 w 10375356"/>
                <a:gd name="connsiteY444" fmla="*/ 1024629 h 10394676"/>
                <a:gd name="connsiteX445" fmla="*/ 3401709 w 10375356"/>
                <a:gd name="connsiteY445" fmla="*/ 1024629 h 10394676"/>
                <a:gd name="connsiteX446" fmla="*/ 3401709 w 10375356"/>
                <a:gd name="connsiteY446" fmla="*/ 1126539 h 10394676"/>
                <a:gd name="connsiteX447" fmla="*/ 2890886 w 10375356"/>
                <a:gd name="connsiteY447" fmla="*/ 1126539 h 10394676"/>
                <a:gd name="connsiteX448" fmla="*/ 6450017 w 10375356"/>
                <a:gd name="connsiteY448" fmla="*/ 912529 h 10394676"/>
                <a:gd name="connsiteX449" fmla="*/ 6286962 w 10375356"/>
                <a:gd name="connsiteY449" fmla="*/ 1075585 h 10394676"/>
                <a:gd name="connsiteX450" fmla="*/ 6450017 w 10375356"/>
                <a:gd name="connsiteY450" fmla="*/ 1238639 h 10394676"/>
                <a:gd name="connsiteX451" fmla="*/ 6613073 w 10375356"/>
                <a:gd name="connsiteY451" fmla="*/ 1075585 h 10394676"/>
                <a:gd name="connsiteX452" fmla="*/ 6450017 w 10375356"/>
                <a:gd name="connsiteY452" fmla="*/ 912529 h 10394676"/>
                <a:gd name="connsiteX453" fmla="*/ 2373692 w 10375356"/>
                <a:gd name="connsiteY453" fmla="*/ 828587 h 10394676"/>
                <a:gd name="connsiteX454" fmla="*/ 2373692 w 10375356"/>
                <a:gd name="connsiteY454" fmla="*/ 1331633 h 10394676"/>
                <a:gd name="connsiteX455" fmla="*/ 2271782 w 10375356"/>
                <a:gd name="connsiteY455" fmla="*/ 1331633 h 10394676"/>
                <a:gd name="connsiteX456" fmla="*/ 2271782 w 10375356"/>
                <a:gd name="connsiteY456" fmla="*/ 895706 h 10394676"/>
                <a:gd name="connsiteX457" fmla="*/ 2297278 w 10375356"/>
                <a:gd name="connsiteY457" fmla="*/ 877575 h 10394676"/>
                <a:gd name="connsiteX458" fmla="*/ 7223258 w 10375356"/>
                <a:gd name="connsiteY458" fmla="*/ 820809 h 10394676"/>
                <a:gd name="connsiteX459" fmla="*/ 7325168 w 10375356"/>
                <a:gd name="connsiteY459" fmla="*/ 820809 h 10394676"/>
                <a:gd name="connsiteX460" fmla="*/ 7325168 w 10375356"/>
                <a:gd name="connsiteY460" fmla="*/ 1331633 h 10394676"/>
                <a:gd name="connsiteX461" fmla="*/ 7223258 w 10375356"/>
                <a:gd name="connsiteY461" fmla="*/ 1331633 h 10394676"/>
                <a:gd name="connsiteX462" fmla="*/ 3918899 w 10375356"/>
                <a:gd name="connsiteY462" fmla="*/ 820809 h 10394676"/>
                <a:gd name="connsiteX463" fmla="*/ 4020808 w 10375356"/>
                <a:gd name="connsiteY463" fmla="*/ 820809 h 10394676"/>
                <a:gd name="connsiteX464" fmla="*/ 4020808 w 10375356"/>
                <a:gd name="connsiteY464" fmla="*/ 1331633 h 10394676"/>
                <a:gd name="connsiteX465" fmla="*/ 3918899 w 10375356"/>
                <a:gd name="connsiteY465" fmla="*/ 1331633 h 10394676"/>
                <a:gd name="connsiteX466" fmla="*/ 6451292 w 10375356"/>
                <a:gd name="connsiteY466" fmla="*/ 810617 h 10394676"/>
                <a:gd name="connsiteX467" fmla="*/ 6716257 w 10375356"/>
                <a:gd name="connsiteY467" fmla="*/ 1075585 h 10394676"/>
                <a:gd name="connsiteX468" fmla="*/ 6451292 w 10375356"/>
                <a:gd name="connsiteY468" fmla="*/ 1340549 h 10394676"/>
                <a:gd name="connsiteX469" fmla="*/ 6186326 w 10375356"/>
                <a:gd name="connsiteY469" fmla="*/ 1075585 h 10394676"/>
                <a:gd name="connsiteX470" fmla="*/ 6451292 w 10375356"/>
                <a:gd name="connsiteY470" fmla="*/ 810617 h 10394676"/>
                <a:gd name="connsiteX471" fmla="*/ 6399063 w 10375356"/>
                <a:gd name="connsiteY471" fmla="*/ 125503 h 10394676"/>
                <a:gd name="connsiteX472" fmla="*/ 6500973 w 10375356"/>
                <a:gd name="connsiteY472" fmla="*/ 149024 h 10394676"/>
                <a:gd name="connsiteX473" fmla="*/ 6500973 w 10375356"/>
                <a:gd name="connsiteY473" fmla="*/ 508711 h 10394676"/>
                <a:gd name="connsiteX474" fmla="*/ 6399063 w 10375356"/>
                <a:gd name="connsiteY474" fmla="*/ 508711 h 10394676"/>
                <a:gd name="connsiteX475" fmla="*/ 4743094 w 10375356"/>
                <a:gd name="connsiteY475" fmla="*/ 101073 h 10394676"/>
                <a:gd name="connsiteX476" fmla="*/ 4845004 w 10375356"/>
                <a:gd name="connsiteY476" fmla="*/ 101073 h 10394676"/>
                <a:gd name="connsiteX477" fmla="*/ 4845004 w 10375356"/>
                <a:gd name="connsiteY477" fmla="*/ 508711 h 10394676"/>
                <a:gd name="connsiteX478" fmla="*/ 4743094 w 10375356"/>
                <a:gd name="connsiteY478" fmla="*/ 508711 h 10394676"/>
                <a:gd name="connsiteX479" fmla="*/ 4174642 w 10375356"/>
                <a:gd name="connsiteY479" fmla="*/ 91020 h 10394676"/>
                <a:gd name="connsiteX480" fmla="*/ 4214021 w 10375356"/>
                <a:gd name="connsiteY480" fmla="*/ 149458 h 10394676"/>
                <a:gd name="connsiteX481" fmla="*/ 4234820 w 10375356"/>
                <a:gd name="connsiteY481" fmla="*/ 252661 h 10394676"/>
                <a:gd name="connsiteX482" fmla="*/ 3969854 w 10375356"/>
                <a:gd name="connsiteY482" fmla="*/ 517629 h 10394676"/>
                <a:gd name="connsiteX483" fmla="*/ 3704889 w 10375356"/>
                <a:gd name="connsiteY483" fmla="*/ 252661 h 10394676"/>
                <a:gd name="connsiteX484" fmla="*/ 3714113 w 10375356"/>
                <a:gd name="connsiteY484" fmla="*/ 206895 h 10394676"/>
                <a:gd name="connsiteX485" fmla="*/ 3829928 w 10375356"/>
                <a:gd name="connsiteY485" fmla="*/ 174007 h 10394676"/>
                <a:gd name="connsiteX486" fmla="*/ 3819737 w 10375356"/>
                <a:gd name="connsiteY486" fmla="*/ 189028 h 10394676"/>
                <a:gd name="connsiteX487" fmla="*/ 3806799 w 10375356"/>
                <a:gd name="connsiteY487" fmla="*/ 252661 h 10394676"/>
                <a:gd name="connsiteX488" fmla="*/ 3969854 w 10375356"/>
                <a:gd name="connsiteY488" fmla="*/ 415717 h 10394676"/>
                <a:gd name="connsiteX489" fmla="*/ 4132911 w 10375356"/>
                <a:gd name="connsiteY489" fmla="*/ 252661 h 10394676"/>
                <a:gd name="connsiteX490" fmla="*/ 4085300 w 10375356"/>
                <a:gd name="connsiteY490" fmla="*/ 137218 h 10394676"/>
                <a:gd name="connsiteX491" fmla="*/ 4056168 w 10375356"/>
                <a:gd name="connsiteY491" fmla="*/ 117622 h 10394676"/>
                <a:gd name="connsiteX492" fmla="*/ 4160436 w 10375356"/>
                <a:gd name="connsiteY492" fmla="*/ 93557 h 10394676"/>
                <a:gd name="connsiteX493" fmla="*/ 5625822 w 10375356"/>
                <a:gd name="connsiteY493" fmla="*/ 89607 h 10394676"/>
                <a:gd name="connsiteX494" fmla="*/ 5462766 w 10375356"/>
                <a:gd name="connsiteY494" fmla="*/ 252661 h 10394676"/>
                <a:gd name="connsiteX495" fmla="*/ 5625822 w 10375356"/>
                <a:gd name="connsiteY495" fmla="*/ 415717 h 10394676"/>
                <a:gd name="connsiteX496" fmla="*/ 5788878 w 10375356"/>
                <a:gd name="connsiteY496" fmla="*/ 252661 h 10394676"/>
                <a:gd name="connsiteX497" fmla="*/ 5625822 w 10375356"/>
                <a:gd name="connsiteY497" fmla="*/ 89607 h 10394676"/>
                <a:gd name="connsiteX498" fmla="*/ 5551305 w 10375356"/>
                <a:gd name="connsiteY498" fmla="*/ 0 h 10394676"/>
                <a:gd name="connsiteX499" fmla="*/ 5741268 w 10375356"/>
                <a:gd name="connsiteY499" fmla="*/ 14445 h 10394676"/>
                <a:gd name="connsiteX500" fmla="*/ 5775311 w 10375356"/>
                <a:gd name="connsiteY500" fmla="*/ 32907 h 10394676"/>
                <a:gd name="connsiteX501" fmla="*/ 5892062 w 10375356"/>
                <a:gd name="connsiteY501" fmla="*/ 252661 h 10394676"/>
                <a:gd name="connsiteX502" fmla="*/ 5627096 w 10375356"/>
                <a:gd name="connsiteY502" fmla="*/ 517629 h 10394676"/>
                <a:gd name="connsiteX503" fmla="*/ 5362131 w 10375356"/>
                <a:gd name="connsiteY503" fmla="*/ 252661 h 10394676"/>
                <a:gd name="connsiteX504" fmla="*/ 5523893 w 10375356"/>
                <a:gd name="connsiteY504" fmla="*/ 8497 h 1039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</a:cxnLst>
              <a:rect l="l" t="t" r="r" b="b"/>
              <a:pathLst>
                <a:path w="10375356" h="10394676">
                  <a:moveTo>
                    <a:pt x="6202887" y="10086957"/>
                  </a:moveTo>
                  <a:lnTo>
                    <a:pt x="6713710" y="10086957"/>
                  </a:lnTo>
                  <a:lnTo>
                    <a:pt x="6713710" y="10187665"/>
                  </a:lnTo>
                  <a:lnTo>
                    <a:pt x="6709472" y="10188869"/>
                  </a:lnTo>
                  <a:lnTo>
                    <a:pt x="6202887" y="10188869"/>
                  </a:lnTo>
                  <a:close/>
                  <a:moveTo>
                    <a:pt x="5634740" y="9974857"/>
                  </a:moveTo>
                  <a:cubicBezTo>
                    <a:pt x="5544295" y="9974857"/>
                    <a:pt x="5471684" y="10047469"/>
                    <a:pt x="5471684" y="10137913"/>
                  </a:cubicBezTo>
                  <a:cubicBezTo>
                    <a:pt x="5471684" y="10228357"/>
                    <a:pt x="5544295" y="10300969"/>
                    <a:pt x="5634740" y="10300969"/>
                  </a:cubicBezTo>
                  <a:cubicBezTo>
                    <a:pt x="5725185" y="10299693"/>
                    <a:pt x="5797795" y="10227083"/>
                    <a:pt x="5797795" y="10137913"/>
                  </a:cubicBezTo>
                  <a:cubicBezTo>
                    <a:pt x="5797795" y="10047469"/>
                    <a:pt x="5725185" y="9974857"/>
                    <a:pt x="5634740" y="9974857"/>
                  </a:cubicBezTo>
                  <a:close/>
                  <a:moveTo>
                    <a:pt x="7232175" y="9881865"/>
                  </a:moveTo>
                  <a:lnTo>
                    <a:pt x="7334085" y="9881865"/>
                  </a:lnTo>
                  <a:lnTo>
                    <a:pt x="7334085" y="9956193"/>
                  </a:lnTo>
                  <a:lnTo>
                    <a:pt x="7238719" y="9999307"/>
                  </a:lnTo>
                  <a:lnTo>
                    <a:pt x="7232175" y="10001887"/>
                  </a:lnTo>
                  <a:close/>
                  <a:moveTo>
                    <a:pt x="4751991" y="9881865"/>
                  </a:moveTo>
                  <a:lnTo>
                    <a:pt x="4853901" y="9881865"/>
                  </a:lnTo>
                  <a:lnTo>
                    <a:pt x="4853901" y="10290777"/>
                  </a:lnTo>
                  <a:lnTo>
                    <a:pt x="4751991" y="10290777"/>
                  </a:lnTo>
                  <a:close/>
                  <a:moveTo>
                    <a:pt x="5636013" y="9872947"/>
                  </a:moveTo>
                  <a:cubicBezTo>
                    <a:pt x="5782509" y="9872947"/>
                    <a:pt x="5900978" y="9991417"/>
                    <a:pt x="5900978" y="10137913"/>
                  </a:cubicBezTo>
                  <a:cubicBezTo>
                    <a:pt x="5900978" y="10247785"/>
                    <a:pt x="5834339" y="10341891"/>
                    <a:pt x="5739217" y="10382077"/>
                  </a:cubicBezTo>
                  <a:lnTo>
                    <a:pt x="5738756" y="10382220"/>
                  </a:lnTo>
                  <a:lnTo>
                    <a:pt x="5574951" y="10394676"/>
                  </a:lnTo>
                  <a:lnTo>
                    <a:pt x="5532810" y="10381361"/>
                  </a:lnTo>
                  <a:cubicBezTo>
                    <a:pt x="5437688" y="10340697"/>
                    <a:pt x="5371048" y="10246828"/>
                    <a:pt x="5371048" y="10137913"/>
                  </a:cubicBezTo>
                  <a:cubicBezTo>
                    <a:pt x="5371048" y="9991417"/>
                    <a:pt x="5489518" y="9872947"/>
                    <a:pt x="5636013" y="9872947"/>
                  </a:cubicBezTo>
                  <a:close/>
                  <a:moveTo>
                    <a:pt x="3978752" y="9872947"/>
                  </a:moveTo>
                  <a:cubicBezTo>
                    <a:pt x="4125249" y="9872947"/>
                    <a:pt x="4243718" y="9991417"/>
                    <a:pt x="4243718" y="10137913"/>
                  </a:cubicBezTo>
                  <a:cubicBezTo>
                    <a:pt x="4243718" y="10174537"/>
                    <a:pt x="4236314" y="10209409"/>
                    <a:pt x="4222918" y="10241117"/>
                  </a:cubicBezTo>
                  <a:lnTo>
                    <a:pt x="4179036" y="10306239"/>
                  </a:lnTo>
                  <a:lnTo>
                    <a:pt x="4160436" y="10302917"/>
                  </a:lnTo>
                  <a:lnTo>
                    <a:pt x="4056265" y="10278875"/>
                  </a:lnTo>
                  <a:lnTo>
                    <a:pt x="4094199" y="10253357"/>
                  </a:lnTo>
                  <a:cubicBezTo>
                    <a:pt x="4123657" y="10223899"/>
                    <a:pt x="4141809" y="10183135"/>
                    <a:pt x="4141809" y="10137913"/>
                  </a:cubicBezTo>
                  <a:cubicBezTo>
                    <a:pt x="4141809" y="10047469"/>
                    <a:pt x="4069199" y="9974857"/>
                    <a:pt x="3978752" y="9974857"/>
                  </a:cubicBezTo>
                  <a:cubicBezTo>
                    <a:pt x="3889581" y="9974857"/>
                    <a:pt x="3815698" y="10047469"/>
                    <a:pt x="3815698" y="10137913"/>
                  </a:cubicBezTo>
                  <a:cubicBezTo>
                    <a:pt x="3815698" y="10160524"/>
                    <a:pt x="3820237" y="10182021"/>
                    <a:pt x="3828457" y="10201547"/>
                  </a:cubicBezTo>
                  <a:lnTo>
                    <a:pt x="3845505" y="10226891"/>
                  </a:lnTo>
                  <a:lnTo>
                    <a:pt x="3724813" y="10192618"/>
                  </a:lnTo>
                  <a:lnTo>
                    <a:pt x="3713787" y="10137913"/>
                  </a:lnTo>
                  <a:cubicBezTo>
                    <a:pt x="3713787" y="9991417"/>
                    <a:pt x="3832257" y="9872947"/>
                    <a:pt x="3978752" y="9872947"/>
                  </a:cubicBezTo>
                  <a:close/>
                  <a:moveTo>
                    <a:pt x="3155832" y="9872947"/>
                  </a:moveTo>
                  <a:cubicBezTo>
                    <a:pt x="3265704" y="9872947"/>
                    <a:pt x="3359812" y="9939586"/>
                    <a:pt x="3399999" y="10034709"/>
                  </a:cubicBezTo>
                  <a:lnTo>
                    <a:pt x="3411035" y="10089469"/>
                  </a:lnTo>
                  <a:lnTo>
                    <a:pt x="3280434" y="10037975"/>
                  </a:lnTo>
                  <a:lnTo>
                    <a:pt x="3270003" y="10022469"/>
                  </a:lnTo>
                  <a:cubicBezTo>
                    <a:pt x="3240545" y="9993010"/>
                    <a:pt x="3199781" y="9974857"/>
                    <a:pt x="3154558" y="9974857"/>
                  </a:cubicBezTo>
                  <a:lnTo>
                    <a:pt x="3136355" y="9978507"/>
                  </a:lnTo>
                  <a:lnTo>
                    <a:pt x="3005935" y="9919545"/>
                  </a:lnTo>
                  <a:lnTo>
                    <a:pt x="3007618" y="9918157"/>
                  </a:lnTo>
                  <a:cubicBezTo>
                    <a:pt x="3049902" y="9889607"/>
                    <a:pt x="3100897" y="9872947"/>
                    <a:pt x="3155832" y="9872947"/>
                  </a:cubicBezTo>
                  <a:close/>
                  <a:moveTo>
                    <a:pt x="7851277" y="9262761"/>
                  </a:moveTo>
                  <a:lnTo>
                    <a:pt x="8362099" y="9262761"/>
                  </a:lnTo>
                  <a:lnTo>
                    <a:pt x="8362099" y="9346902"/>
                  </a:lnTo>
                  <a:lnTo>
                    <a:pt x="8339488" y="9364671"/>
                  </a:lnTo>
                  <a:lnTo>
                    <a:pt x="7851277" y="9364671"/>
                  </a:lnTo>
                  <a:close/>
                  <a:moveTo>
                    <a:pt x="5379965" y="9262761"/>
                  </a:moveTo>
                  <a:lnTo>
                    <a:pt x="5890787" y="9262761"/>
                  </a:lnTo>
                  <a:lnTo>
                    <a:pt x="5890787" y="9364671"/>
                  </a:lnTo>
                  <a:lnTo>
                    <a:pt x="5379965" y="9364671"/>
                  </a:lnTo>
                  <a:close/>
                  <a:moveTo>
                    <a:pt x="4546902" y="9262761"/>
                  </a:moveTo>
                  <a:lnTo>
                    <a:pt x="5057725" y="9262761"/>
                  </a:lnTo>
                  <a:lnTo>
                    <a:pt x="5057725" y="9364671"/>
                  </a:lnTo>
                  <a:lnTo>
                    <a:pt x="4546902" y="9364671"/>
                  </a:lnTo>
                  <a:close/>
                  <a:moveTo>
                    <a:pt x="2899787" y="9262761"/>
                  </a:moveTo>
                  <a:lnTo>
                    <a:pt x="3410609" y="9262761"/>
                  </a:lnTo>
                  <a:lnTo>
                    <a:pt x="3410609" y="9364671"/>
                  </a:lnTo>
                  <a:lnTo>
                    <a:pt x="2899787" y="9364671"/>
                  </a:lnTo>
                  <a:close/>
                  <a:moveTo>
                    <a:pt x="6450017" y="9150661"/>
                  </a:moveTo>
                  <a:cubicBezTo>
                    <a:pt x="6359572" y="9150661"/>
                    <a:pt x="6286962" y="9223273"/>
                    <a:pt x="6286962" y="9313717"/>
                  </a:cubicBezTo>
                  <a:cubicBezTo>
                    <a:pt x="6286962" y="9404161"/>
                    <a:pt x="6359572" y="9476773"/>
                    <a:pt x="6450017" y="9476773"/>
                  </a:cubicBezTo>
                  <a:cubicBezTo>
                    <a:pt x="6540463" y="9476773"/>
                    <a:pt x="6613073" y="9404161"/>
                    <a:pt x="6613073" y="9313717"/>
                  </a:cubicBezTo>
                  <a:cubicBezTo>
                    <a:pt x="6613073" y="9223273"/>
                    <a:pt x="6540463" y="9150661"/>
                    <a:pt x="6450017" y="9150661"/>
                  </a:cubicBezTo>
                  <a:close/>
                  <a:moveTo>
                    <a:pt x="3978754" y="9150661"/>
                  </a:moveTo>
                  <a:cubicBezTo>
                    <a:pt x="3889583" y="9150661"/>
                    <a:pt x="3815700" y="9223273"/>
                    <a:pt x="3815700" y="9313717"/>
                  </a:cubicBezTo>
                  <a:cubicBezTo>
                    <a:pt x="3815700" y="9404161"/>
                    <a:pt x="3888310" y="9476773"/>
                    <a:pt x="3978754" y="9476773"/>
                  </a:cubicBezTo>
                  <a:cubicBezTo>
                    <a:pt x="4069201" y="9476773"/>
                    <a:pt x="4141811" y="9404161"/>
                    <a:pt x="4141811" y="9313717"/>
                  </a:cubicBezTo>
                  <a:cubicBezTo>
                    <a:pt x="4141811" y="9223273"/>
                    <a:pt x="4069201" y="9150661"/>
                    <a:pt x="3978754" y="9150661"/>
                  </a:cubicBezTo>
                  <a:close/>
                  <a:moveTo>
                    <a:pt x="7232175" y="9057669"/>
                  </a:moveTo>
                  <a:lnTo>
                    <a:pt x="7334085" y="9057669"/>
                  </a:lnTo>
                  <a:lnTo>
                    <a:pt x="7334085" y="9568493"/>
                  </a:lnTo>
                  <a:lnTo>
                    <a:pt x="7232175" y="9568493"/>
                  </a:lnTo>
                  <a:close/>
                  <a:moveTo>
                    <a:pt x="2280685" y="9057669"/>
                  </a:moveTo>
                  <a:lnTo>
                    <a:pt x="2382595" y="9057669"/>
                  </a:lnTo>
                  <a:lnTo>
                    <a:pt x="2382595" y="9568493"/>
                  </a:lnTo>
                  <a:lnTo>
                    <a:pt x="2374638" y="9568493"/>
                  </a:lnTo>
                  <a:lnTo>
                    <a:pt x="2297278" y="9518899"/>
                  </a:lnTo>
                  <a:lnTo>
                    <a:pt x="2280685" y="9507099"/>
                  </a:lnTo>
                  <a:close/>
                  <a:moveTo>
                    <a:pt x="6450017" y="9048751"/>
                  </a:moveTo>
                  <a:cubicBezTo>
                    <a:pt x="6596513" y="9048751"/>
                    <a:pt x="6714982" y="9167221"/>
                    <a:pt x="6714982" y="9313717"/>
                  </a:cubicBezTo>
                  <a:cubicBezTo>
                    <a:pt x="6714982" y="9460213"/>
                    <a:pt x="6596513" y="9578681"/>
                    <a:pt x="6450017" y="9578681"/>
                  </a:cubicBezTo>
                  <a:cubicBezTo>
                    <a:pt x="6303522" y="9578681"/>
                    <a:pt x="6185052" y="9460213"/>
                    <a:pt x="6185052" y="9313717"/>
                  </a:cubicBezTo>
                  <a:cubicBezTo>
                    <a:pt x="6185052" y="9167221"/>
                    <a:pt x="6303522" y="9048751"/>
                    <a:pt x="6450017" y="9048751"/>
                  </a:cubicBezTo>
                  <a:close/>
                  <a:moveTo>
                    <a:pt x="3978754" y="9048751"/>
                  </a:moveTo>
                  <a:cubicBezTo>
                    <a:pt x="4125250" y="9048751"/>
                    <a:pt x="4243720" y="9167221"/>
                    <a:pt x="4243720" y="9313717"/>
                  </a:cubicBezTo>
                  <a:cubicBezTo>
                    <a:pt x="4243720" y="9460213"/>
                    <a:pt x="4125250" y="9578681"/>
                    <a:pt x="3978754" y="9578681"/>
                  </a:cubicBezTo>
                  <a:cubicBezTo>
                    <a:pt x="3832260" y="9578681"/>
                    <a:pt x="3713789" y="9460213"/>
                    <a:pt x="3713789" y="9313717"/>
                  </a:cubicBezTo>
                  <a:cubicBezTo>
                    <a:pt x="3713789" y="9167221"/>
                    <a:pt x="3832260" y="9048751"/>
                    <a:pt x="3978754" y="9048751"/>
                  </a:cubicBezTo>
                  <a:close/>
                  <a:moveTo>
                    <a:pt x="5676776" y="8665264"/>
                  </a:moveTo>
                  <a:lnTo>
                    <a:pt x="5676776" y="8745569"/>
                  </a:lnTo>
                  <a:lnTo>
                    <a:pt x="5574867" y="8745569"/>
                  </a:lnTo>
                  <a:lnTo>
                    <a:pt x="5574867" y="8678214"/>
                  </a:lnTo>
                  <a:close/>
                  <a:moveTo>
                    <a:pt x="3918880" y="8449859"/>
                  </a:moveTo>
                  <a:lnTo>
                    <a:pt x="4007509" y="8484804"/>
                  </a:lnTo>
                  <a:lnTo>
                    <a:pt x="4020789" y="8489298"/>
                  </a:lnTo>
                  <a:lnTo>
                    <a:pt x="4020789" y="8745569"/>
                  </a:lnTo>
                  <a:lnTo>
                    <a:pt x="3918880" y="8745569"/>
                  </a:lnTo>
                  <a:close/>
                  <a:moveTo>
                    <a:pt x="7018165" y="8438567"/>
                  </a:moveTo>
                  <a:lnTo>
                    <a:pt x="7528988" y="8438567"/>
                  </a:lnTo>
                  <a:lnTo>
                    <a:pt x="7528988" y="8540477"/>
                  </a:lnTo>
                  <a:lnTo>
                    <a:pt x="7018165" y="8540477"/>
                  </a:lnTo>
                  <a:close/>
                  <a:moveTo>
                    <a:pt x="6530840" y="8438567"/>
                  </a:moveTo>
                  <a:lnTo>
                    <a:pt x="6697148" y="8438567"/>
                  </a:lnTo>
                  <a:lnTo>
                    <a:pt x="6697148" y="8540477"/>
                  </a:lnTo>
                  <a:lnTo>
                    <a:pt x="6248661" y="8540477"/>
                  </a:lnTo>
                  <a:lnTo>
                    <a:pt x="6251001" y="8539813"/>
                  </a:lnTo>
                  <a:cubicBezTo>
                    <a:pt x="6305781" y="8522774"/>
                    <a:pt x="6359984" y="8504426"/>
                    <a:pt x="6413573" y="8484804"/>
                  </a:cubicBezTo>
                  <a:close/>
                  <a:moveTo>
                    <a:pt x="2066673" y="8438567"/>
                  </a:moveTo>
                  <a:lnTo>
                    <a:pt x="2577496" y="8438567"/>
                  </a:lnTo>
                  <a:lnTo>
                    <a:pt x="2577496" y="8540477"/>
                  </a:lnTo>
                  <a:lnTo>
                    <a:pt x="2066673" y="8540477"/>
                  </a:lnTo>
                  <a:close/>
                  <a:moveTo>
                    <a:pt x="1234837" y="8438567"/>
                  </a:moveTo>
                  <a:lnTo>
                    <a:pt x="1745660" y="8438567"/>
                  </a:lnTo>
                  <a:lnTo>
                    <a:pt x="1745660" y="8540477"/>
                  </a:lnTo>
                  <a:lnTo>
                    <a:pt x="1234837" y="8540477"/>
                  </a:lnTo>
                  <a:close/>
                  <a:moveTo>
                    <a:pt x="8870376" y="8234747"/>
                  </a:moveTo>
                  <a:lnTo>
                    <a:pt x="8972285" y="8234747"/>
                  </a:lnTo>
                  <a:lnTo>
                    <a:pt x="8972285" y="8745569"/>
                  </a:lnTo>
                  <a:lnTo>
                    <a:pt x="8870376" y="8745569"/>
                  </a:lnTo>
                  <a:close/>
                  <a:moveTo>
                    <a:pt x="8046180" y="8234747"/>
                  </a:moveTo>
                  <a:lnTo>
                    <a:pt x="8148089" y="8234747"/>
                  </a:lnTo>
                  <a:lnTo>
                    <a:pt x="8148089" y="8745569"/>
                  </a:lnTo>
                  <a:lnTo>
                    <a:pt x="8046180" y="8745569"/>
                  </a:lnTo>
                  <a:close/>
                  <a:moveTo>
                    <a:pt x="3094685" y="8234747"/>
                  </a:moveTo>
                  <a:lnTo>
                    <a:pt x="3196595" y="8234747"/>
                  </a:lnTo>
                  <a:lnTo>
                    <a:pt x="3196595" y="8745569"/>
                  </a:lnTo>
                  <a:lnTo>
                    <a:pt x="3094685" y="8745569"/>
                  </a:lnTo>
                  <a:close/>
                  <a:moveTo>
                    <a:pt x="9489477" y="7615645"/>
                  </a:moveTo>
                  <a:lnTo>
                    <a:pt x="9824110" y="7615645"/>
                  </a:lnTo>
                  <a:lnTo>
                    <a:pt x="9792198" y="7681890"/>
                  </a:lnTo>
                  <a:lnTo>
                    <a:pt x="9770531" y="7717555"/>
                  </a:lnTo>
                  <a:lnTo>
                    <a:pt x="9489477" y="7717555"/>
                  </a:lnTo>
                  <a:close/>
                  <a:moveTo>
                    <a:pt x="8666557" y="7615645"/>
                  </a:moveTo>
                  <a:lnTo>
                    <a:pt x="9177379" y="7615645"/>
                  </a:lnTo>
                  <a:lnTo>
                    <a:pt x="9177379" y="7717555"/>
                  </a:lnTo>
                  <a:lnTo>
                    <a:pt x="8666557" y="7717555"/>
                  </a:lnTo>
                  <a:close/>
                  <a:moveTo>
                    <a:pt x="2322721" y="7503545"/>
                  </a:moveTo>
                  <a:cubicBezTo>
                    <a:pt x="2232276" y="7503545"/>
                    <a:pt x="2159665" y="7576155"/>
                    <a:pt x="2159665" y="7666599"/>
                  </a:cubicBezTo>
                  <a:cubicBezTo>
                    <a:pt x="2159665" y="7757045"/>
                    <a:pt x="2232276" y="7829655"/>
                    <a:pt x="2322721" y="7829655"/>
                  </a:cubicBezTo>
                  <a:cubicBezTo>
                    <a:pt x="2411891" y="7828381"/>
                    <a:pt x="2485776" y="7755769"/>
                    <a:pt x="2485776" y="7666599"/>
                  </a:cubicBezTo>
                  <a:cubicBezTo>
                    <a:pt x="2485776" y="7576155"/>
                    <a:pt x="2413167" y="7503545"/>
                    <a:pt x="2322721" y="7503545"/>
                  </a:cubicBezTo>
                  <a:close/>
                  <a:moveTo>
                    <a:pt x="8046180" y="7410553"/>
                  </a:moveTo>
                  <a:lnTo>
                    <a:pt x="8148089" y="7410553"/>
                  </a:lnTo>
                  <a:lnTo>
                    <a:pt x="8148089" y="7921375"/>
                  </a:lnTo>
                  <a:lnTo>
                    <a:pt x="8046180" y="7921375"/>
                  </a:lnTo>
                  <a:close/>
                  <a:moveTo>
                    <a:pt x="1447573" y="7410553"/>
                  </a:moveTo>
                  <a:lnTo>
                    <a:pt x="1549483" y="7410553"/>
                  </a:lnTo>
                  <a:lnTo>
                    <a:pt x="1549483" y="7921375"/>
                  </a:lnTo>
                  <a:lnTo>
                    <a:pt x="1447573" y="7921375"/>
                  </a:lnTo>
                  <a:close/>
                  <a:moveTo>
                    <a:pt x="2322721" y="7401633"/>
                  </a:moveTo>
                  <a:cubicBezTo>
                    <a:pt x="2469216" y="7401633"/>
                    <a:pt x="2587686" y="7520105"/>
                    <a:pt x="2587686" y="7666599"/>
                  </a:cubicBezTo>
                  <a:cubicBezTo>
                    <a:pt x="2587686" y="7813095"/>
                    <a:pt x="2469216" y="7931565"/>
                    <a:pt x="2322721" y="7931565"/>
                  </a:cubicBezTo>
                  <a:cubicBezTo>
                    <a:pt x="2176225" y="7930291"/>
                    <a:pt x="2057755" y="7811821"/>
                    <a:pt x="2057755" y="7666599"/>
                  </a:cubicBezTo>
                  <a:cubicBezTo>
                    <a:pt x="2057755" y="7520105"/>
                    <a:pt x="2176225" y="7401633"/>
                    <a:pt x="2322721" y="7401633"/>
                  </a:cubicBezTo>
                  <a:close/>
                  <a:moveTo>
                    <a:pt x="674333" y="7401633"/>
                  </a:moveTo>
                  <a:cubicBezTo>
                    <a:pt x="820829" y="7401633"/>
                    <a:pt x="939299" y="7520105"/>
                    <a:pt x="939299" y="7666599"/>
                  </a:cubicBezTo>
                  <a:cubicBezTo>
                    <a:pt x="939299" y="7776471"/>
                    <a:pt x="872660" y="7870579"/>
                    <a:pt x="777537" y="7910765"/>
                  </a:cubicBezTo>
                  <a:lnTo>
                    <a:pt x="769452" y="7913271"/>
                  </a:lnTo>
                  <a:lnTo>
                    <a:pt x="713980" y="7821961"/>
                  </a:lnTo>
                  <a:lnTo>
                    <a:pt x="739241" y="7816897"/>
                  </a:lnTo>
                  <a:cubicBezTo>
                    <a:pt x="797819" y="7792235"/>
                    <a:pt x="838662" y="7734434"/>
                    <a:pt x="838662" y="7666599"/>
                  </a:cubicBezTo>
                  <a:cubicBezTo>
                    <a:pt x="838662" y="7576155"/>
                    <a:pt x="766051" y="7503545"/>
                    <a:pt x="675607" y="7503545"/>
                  </a:cubicBezTo>
                  <a:cubicBezTo>
                    <a:pt x="652996" y="7503545"/>
                    <a:pt x="631500" y="7508083"/>
                    <a:pt x="611973" y="7516304"/>
                  </a:cubicBezTo>
                  <a:lnTo>
                    <a:pt x="564501" y="7548238"/>
                  </a:lnTo>
                  <a:lnTo>
                    <a:pt x="518632" y="7453019"/>
                  </a:lnTo>
                  <a:lnTo>
                    <a:pt x="526119" y="7446844"/>
                  </a:lnTo>
                  <a:cubicBezTo>
                    <a:pt x="568403" y="7418293"/>
                    <a:pt x="619397" y="7401633"/>
                    <a:pt x="674333" y="7401633"/>
                  </a:cubicBezTo>
                  <a:close/>
                  <a:moveTo>
                    <a:pt x="8148089" y="7094869"/>
                  </a:moveTo>
                  <a:lnTo>
                    <a:pt x="8148089" y="7097179"/>
                  </a:lnTo>
                  <a:lnTo>
                    <a:pt x="8146686" y="7097179"/>
                  </a:lnTo>
                  <a:close/>
                  <a:moveTo>
                    <a:pt x="8665281" y="6791449"/>
                  </a:moveTo>
                  <a:lnTo>
                    <a:pt x="9176104" y="6791449"/>
                  </a:lnTo>
                  <a:lnTo>
                    <a:pt x="9176104" y="6893357"/>
                  </a:lnTo>
                  <a:lnTo>
                    <a:pt x="8665281" y="6893357"/>
                  </a:lnTo>
                  <a:close/>
                  <a:moveTo>
                    <a:pt x="2066681" y="6791449"/>
                  </a:moveTo>
                  <a:lnTo>
                    <a:pt x="2098040" y="6791449"/>
                  </a:lnTo>
                  <a:lnTo>
                    <a:pt x="2133958" y="6866010"/>
                  </a:lnTo>
                  <a:lnTo>
                    <a:pt x="2150572" y="6893357"/>
                  </a:lnTo>
                  <a:lnTo>
                    <a:pt x="2066681" y="6893357"/>
                  </a:lnTo>
                  <a:close/>
                  <a:moveTo>
                    <a:pt x="419562" y="6791449"/>
                  </a:moveTo>
                  <a:lnTo>
                    <a:pt x="930385" y="6791449"/>
                  </a:lnTo>
                  <a:lnTo>
                    <a:pt x="930385" y="6893357"/>
                  </a:lnTo>
                  <a:lnTo>
                    <a:pt x="419562" y="6893357"/>
                  </a:lnTo>
                  <a:close/>
                  <a:moveTo>
                    <a:pt x="9745526" y="6679349"/>
                  </a:moveTo>
                  <a:cubicBezTo>
                    <a:pt x="9655081" y="6679349"/>
                    <a:pt x="9582469" y="6751961"/>
                    <a:pt x="9582469" y="6842405"/>
                  </a:cubicBezTo>
                  <a:cubicBezTo>
                    <a:pt x="9582469" y="6932849"/>
                    <a:pt x="9655081" y="7005461"/>
                    <a:pt x="9745526" y="7005461"/>
                  </a:cubicBezTo>
                  <a:cubicBezTo>
                    <a:pt x="9835970" y="7005461"/>
                    <a:pt x="9908582" y="6932849"/>
                    <a:pt x="9908582" y="6842405"/>
                  </a:cubicBezTo>
                  <a:cubicBezTo>
                    <a:pt x="9908582" y="6751961"/>
                    <a:pt x="9835970" y="6679349"/>
                    <a:pt x="9745526" y="6679349"/>
                  </a:cubicBezTo>
                  <a:close/>
                  <a:moveTo>
                    <a:pt x="1498533" y="6679349"/>
                  </a:moveTo>
                  <a:cubicBezTo>
                    <a:pt x="1408088" y="6679349"/>
                    <a:pt x="1335477" y="6751961"/>
                    <a:pt x="1335477" y="6842405"/>
                  </a:cubicBezTo>
                  <a:cubicBezTo>
                    <a:pt x="1335477" y="6932849"/>
                    <a:pt x="1408088" y="7005461"/>
                    <a:pt x="1498533" y="7005461"/>
                  </a:cubicBezTo>
                  <a:cubicBezTo>
                    <a:pt x="1588977" y="7005461"/>
                    <a:pt x="1661588" y="6932849"/>
                    <a:pt x="1661588" y="6842405"/>
                  </a:cubicBezTo>
                  <a:cubicBezTo>
                    <a:pt x="1661588" y="6751961"/>
                    <a:pt x="1588977" y="6679349"/>
                    <a:pt x="1498533" y="6679349"/>
                  </a:cubicBezTo>
                  <a:close/>
                  <a:moveTo>
                    <a:pt x="9744252" y="6577439"/>
                  </a:moveTo>
                  <a:cubicBezTo>
                    <a:pt x="9890747" y="6577439"/>
                    <a:pt x="10009217" y="6695909"/>
                    <a:pt x="10009217" y="6842405"/>
                  </a:cubicBezTo>
                  <a:cubicBezTo>
                    <a:pt x="10009217" y="6988901"/>
                    <a:pt x="9890747" y="7107369"/>
                    <a:pt x="9744252" y="7107369"/>
                  </a:cubicBezTo>
                  <a:cubicBezTo>
                    <a:pt x="9597757" y="7107369"/>
                    <a:pt x="9479286" y="6988901"/>
                    <a:pt x="9479286" y="6842405"/>
                  </a:cubicBezTo>
                  <a:cubicBezTo>
                    <a:pt x="9479286" y="6695909"/>
                    <a:pt x="9597757" y="6577439"/>
                    <a:pt x="9744252" y="6577439"/>
                  </a:cubicBezTo>
                  <a:close/>
                  <a:moveTo>
                    <a:pt x="1499807" y="6577439"/>
                  </a:moveTo>
                  <a:cubicBezTo>
                    <a:pt x="1646302" y="6577439"/>
                    <a:pt x="1764771" y="6695909"/>
                    <a:pt x="1764771" y="6842405"/>
                  </a:cubicBezTo>
                  <a:cubicBezTo>
                    <a:pt x="1764771" y="6988901"/>
                    <a:pt x="1646302" y="7107369"/>
                    <a:pt x="1499807" y="7107369"/>
                  </a:cubicBezTo>
                  <a:cubicBezTo>
                    <a:pt x="1353311" y="7107369"/>
                    <a:pt x="1234841" y="6988901"/>
                    <a:pt x="1234841" y="6842405"/>
                  </a:cubicBezTo>
                  <a:cubicBezTo>
                    <a:pt x="1234841" y="6695909"/>
                    <a:pt x="1353311" y="6577439"/>
                    <a:pt x="1499807" y="6577439"/>
                  </a:cubicBezTo>
                  <a:close/>
                  <a:moveTo>
                    <a:pt x="8921331" y="5855153"/>
                  </a:moveTo>
                  <a:cubicBezTo>
                    <a:pt x="8830884" y="5855153"/>
                    <a:pt x="8758274" y="5927763"/>
                    <a:pt x="8758274" y="6018209"/>
                  </a:cubicBezTo>
                  <a:cubicBezTo>
                    <a:pt x="8758274" y="6108653"/>
                    <a:pt x="8830884" y="6181265"/>
                    <a:pt x="8921331" y="6181265"/>
                  </a:cubicBezTo>
                  <a:cubicBezTo>
                    <a:pt x="9011775" y="6181265"/>
                    <a:pt x="9084385" y="6108653"/>
                    <a:pt x="9084385" y="6018209"/>
                  </a:cubicBezTo>
                  <a:cubicBezTo>
                    <a:pt x="9084385" y="5927763"/>
                    <a:pt x="9011775" y="5855153"/>
                    <a:pt x="8921331" y="5855153"/>
                  </a:cubicBezTo>
                  <a:close/>
                  <a:moveTo>
                    <a:pt x="674337" y="5855153"/>
                  </a:moveTo>
                  <a:cubicBezTo>
                    <a:pt x="583892" y="5855153"/>
                    <a:pt x="511282" y="5927763"/>
                    <a:pt x="511282" y="6018209"/>
                  </a:cubicBezTo>
                  <a:cubicBezTo>
                    <a:pt x="511282" y="6108653"/>
                    <a:pt x="583892" y="6181265"/>
                    <a:pt x="674337" y="6181265"/>
                  </a:cubicBezTo>
                  <a:cubicBezTo>
                    <a:pt x="764782" y="6181265"/>
                    <a:pt x="837393" y="6108653"/>
                    <a:pt x="837393" y="6018209"/>
                  </a:cubicBezTo>
                  <a:cubicBezTo>
                    <a:pt x="837393" y="5927763"/>
                    <a:pt x="764782" y="5855153"/>
                    <a:pt x="674337" y="5855153"/>
                  </a:cubicBezTo>
                  <a:close/>
                  <a:moveTo>
                    <a:pt x="10375356" y="5854333"/>
                  </a:moveTo>
                  <a:lnTo>
                    <a:pt x="10334572" y="6121561"/>
                  </a:lnTo>
                  <a:lnTo>
                    <a:pt x="10334472" y="6121413"/>
                  </a:lnTo>
                  <a:cubicBezTo>
                    <a:pt x="10321077" y="6089706"/>
                    <a:pt x="10313672" y="6054833"/>
                    <a:pt x="10313672" y="6018209"/>
                  </a:cubicBezTo>
                  <a:cubicBezTo>
                    <a:pt x="10313672" y="5981585"/>
                    <a:pt x="10321077" y="5946713"/>
                    <a:pt x="10334472" y="5915005"/>
                  </a:cubicBezTo>
                  <a:close/>
                  <a:moveTo>
                    <a:pt x="9694571" y="5763433"/>
                  </a:moveTo>
                  <a:lnTo>
                    <a:pt x="9796481" y="5763433"/>
                  </a:lnTo>
                  <a:lnTo>
                    <a:pt x="9796481" y="6274257"/>
                  </a:lnTo>
                  <a:lnTo>
                    <a:pt x="9694571" y="6274257"/>
                  </a:lnTo>
                  <a:close/>
                  <a:moveTo>
                    <a:pt x="1447575" y="5763433"/>
                  </a:moveTo>
                  <a:lnTo>
                    <a:pt x="1549485" y="5763433"/>
                  </a:lnTo>
                  <a:lnTo>
                    <a:pt x="1549485" y="6274257"/>
                  </a:lnTo>
                  <a:lnTo>
                    <a:pt x="1447575" y="6274257"/>
                  </a:lnTo>
                  <a:close/>
                  <a:moveTo>
                    <a:pt x="8922604" y="5753243"/>
                  </a:moveTo>
                  <a:cubicBezTo>
                    <a:pt x="9069099" y="5753243"/>
                    <a:pt x="9187569" y="5871713"/>
                    <a:pt x="9187569" y="6018209"/>
                  </a:cubicBezTo>
                  <a:cubicBezTo>
                    <a:pt x="9187569" y="6164705"/>
                    <a:pt x="9069099" y="6283173"/>
                    <a:pt x="8922604" y="6283173"/>
                  </a:cubicBezTo>
                  <a:cubicBezTo>
                    <a:pt x="8776109" y="6283173"/>
                    <a:pt x="8657638" y="6164705"/>
                    <a:pt x="8657638" y="6018209"/>
                  </a:cubicBezTo>
                  <a:cubicBezTo>
                    <a:pt x="8657638" y="5871713"/>
                    <a:pt x="8776109" y="5753243"/>
                    <a:pt x="8922604" y="5753243"/>
                  </a:cubicBezTo>
                  <a:close/>
                  <a:moveTo>
                    <a:pt x="675610" y="5753243"/>
                  </a:moveTo>
                  <a:cubicBezTo>
                    <a:pt x="822108" y="5753243"/>
                    <a:pt x="940577" y="5871713"/>
                    <a:pt x="940577" y="6018209"/>
                  </a:cubicBezTo>
                  <a:cubicBezTo>
                    <a:pt x="940577" y="6164705"/>
                    <a:pt x="822108" y="6283173"/>
                    <a:pt x="675610" y="6283173"/>
                  </a:cubicBezTo>
                  <a:cubicBezTo>
                    <a:pt x="529116" y="6283173"/>
                    <a:pt x="410646" y="6164705"/>
                    <a:pt x="410646" y="6018209"/>
                  </a:cubicBezTo>
                  <a:cubicBezTo>
                    <a:pt x="410646" y="5871713"/>
                    <a:pt x="529116" y="5753243"/>
                    <a:pt x="675610" y="5753243"/>
                  </a:cubicBezTo>
                  <a:close/>
                  <a:moveTo>
                    <a:pt x="9489477" y="5143057"/>
                  </a:moveTo>
                  <a:lnTo>
                    <a:pt x="10000300" y="5143057"/>
                  </a:lnTo>
                  <a:lnTo>
                    <a:pt x="10000300" y="5244969"/>
                  </a:lnTo>
                  <a:lnTo>
                    <a:pt x="9489477" y="5244969"/>
                  </a:lnTo>
                  <a:close/>
                  <a:moveTo>
                    <a:pt x="8706634" y="5143057"/>
                  </a:moveTo>
                  <a:lnTo>
                    <a:pt x="9176104" y="5143057"/>
                  </a:lnTo>
                  <a:lnTo>
                    <a:pt x="9176104" y="5244969"/>
                  </a:lnTo>
                  <a:lnTo>
                    <a:pt x="8707060" y="5244969"/>
                  </a:lnTo>
                  <a:lnTo>
                    <a:pt x="8709420" y="5198237"/>
                  </a:lnTo>
                  <a:close/>
                  <a:moveTo>
                    <a:pt x="1242485" y="5143057"/>
                  </a:moveTo>
                  <a:lnTo>
                    <a:pt x="1714449" y="5143057"/>
                  </a:lnTo>
                  <a:lnTo>
                    <a:pt x="1711662" y="5198237"/>
                  </a:lnTo>
                  <a:lnTo>
                    <a:pt x="1714022" y="5244969"/>
                  </a:lnTo>
                  <a:lnTo>
                    <a:pt x="1242485" y="5244969"/>
                  </a:lnTo>
                  <a:close/>
                  <a:moveTo>
                    <a:pt x="2787" y="5143057"/>
                  </a:moveTo>
                  <a:lnTo>
                    <a:pt x="97302" y="5143057"/>
                  </a:lnTo>
                  <a:lnTo>
                    <a:pt x="97302" y="5244969"/>
                  </a:lnTo>
                  <a:lnTo>
                    <a:pt x="2360" y="5244969"/>
                  </a:lnTo>
                  <a:lnTo>
                    <a:pt x="0" y="5198237"/>
                  </a:lnTo>
                  <a:close/>
                  <a:moveTo>
                    <a:pt x="623389" y="4939239"/>
                  </a:moveTo>
                  <a:lnTo>
                    <a:pt x="725299" y="4939239"/>
                  </a:lnTo>
                  <a:lnTo>
                    <a:pt x="725299" y="5450061"/>
                  </a:lnTo>
                  <a:lnTo>
                    <a:pt x="623389" y="5450061"/>
                  </a:lnTo>
                  <a:close/>
                  <a:moveTo>
                    <a:pt x="86723" y="4273524"/>
                  </a:moveTo>
                  <a:lnTo>
                    <a:pt x="106218" y="4371093"/>
                  </a:lnTo>
                  <a:cubicBezTo>
                    <a:pt x="106218" y="4407717"/>
                    <a:pt x="98813" y="4442589"/>
                    <a:pt x="85418" y="4474296"/>
                  </a:cubicBezTo>
                  <a:lnTo>
                    <a:pt x="47492" y="4530579"/>
                  </a:lnTo>
                  <a:close/>
                  <a:moveTo>
                    <a:pt x="9745526" y="4208037"/>
                  </a:moveTo>
                  <a:cubicBezTo>
                    <a:pt x="9655081" y="4208037"/>
                    <a:pt x="9582469" y="4280647"/>
                    <a:pt x="9582469" y="4371093"/>
                  </a:cubicBezTo>
                  <a:cubicBezTo>
                    <a:pt x="9582469" y="4461537"/>
                    <a:pt x="9655081" y="4534147"/>
                    <a:pt x="9745526" y="4534147"/>
                  </a:cubicBezTo>
                  <a:cubicBezTo>
                    <a:pt x="9835970" y="4534147"/>
                    <a:pt x="9908582" y="4461537"/>
                    <a:pt x="9908582" y="4371093"/>
                  </a:cubicBezTo>
                  <a:cubicBezTo>
                    <a:pt x="9908582" y="4280647"/>
                    <a:pt x="9835970" y="4208037"/>
                    <a:pt x="9745526" y="4208037"/>
                  </a:cubicBezTo>
                  <a:close/>
                  <a:moveTo>
                    <a:pt x="1498539" y="4208037"/>
                  </a:moveTo>
                  <a:cubicBezTo>
                    <a:pt x="1408093" y="4208037"/>
                    <a:pt x="1335482" y="4280647"/>
                    <a:pt x="1335482" y="4371093"/>
                  </a:cubicBezTo>
                  <a:cubicBezTo>
                    <a:pt x="1335482" y="4461537"/>
                    <a:pt x="1408093" y="4534147"/>
                    <a:pt x="1498539" y="4534147"/>
                  </a:cubicBezTo>
                  <a:cubicBezTo>
                    <a:pt x="1588983" y="4534147"/>
                    <a:pt x="1661593" y="4461537"/>
                    <a:pt x="1661593" y="4371093"/>
                  </a:cubicBezTo>
                  <a:cubicBezTo>
                    <a:pt x="1661593" y="4280647"/>
                    <a:pt x="1588983" y="4208037"/>
                    <a:pt x="1498539" y="4208037"/>
                  </a:cubicBezTo>
                  <a:close/>
                  <a:moveTo>
                    <a:pt x="8870376" y="4115043"/>
                  </a:moveTo>
                  <a:lnTo>
                    <a:pt x="8972285" y="4115043"/>
                  </a:lnTo>
                  <a:lnTo>
                    <a:pt x="8972285" y="4625865"/>
                  </a:lnTo>
                  <a:lnTo>
                    <a:pt x="8870376" y="4625865"/>
                  </a:lnTo>
                  <a:close/>
                  <a:moveTo>
                    <a:pt x="623387" y="4115043"/>
                  </a:moveTo>
                  <a:lnTo>
                    <a:pt x="725297" y="4115043"/>
                  </a:lnTo>
                  <a:lnTo>
                    <a:pt x="725297" y="4625865"/>
                  </a:lnTo>
                  <a:lnTo>
                    <a:pt x="623387" y="4625865"/>
                  </a:lnTo>
                  <a:close/>
                  <a:moveTo>
                    <a:pt x="9744252" y="4106125"/>
                  </a:moveTo>
                  <a:cubicBezTo>
                    <a:pt x="9890747" y="4106125"/>
                    <a:pt x="10009217" y="4224597"/>
                    <a:pt x="10009217" y="4371093"/>
                  </a:cubicBezTo>
                  <a:cubicBezTo>
                    <a:pt x="10009217" y="4517587"/>
                    <a:pt x="9890747" y="4636057"/>
                    <a:pt x="9744252" y="4636057"/>
                  </a:cubicBezTo>
                  <a:cubicBezTo>
                    <a:pt x="9597757" y="4636057"/>
                    <a:pt x="9479286" y="4517587"/>
                    <a:pt x="9479286" y="4371093"/>
                  </a:cubicBezTo>
                  <a:cubicBezTo>
                    <a:pt x="9479286" y="4224597"/>
                    <a:pt x="9597757" y="4106125"/>
                    <a:pt x="9744252" y="4106125"/>
                  </a:cubicBezTo>
                  <a:close/>
                  <a:moveTo>
                    <a:pt x="1499812" y="4106125"/>
                  </a:moveTo>
                  <a:cubicBezTo>
                    <a:pt x="1646307" y="4106125"/>
                    <a:pt x="1764778" y="4224597"/>
                    <a:pt x="1764778" y="4371093"/>
                  </a:cubicBezTo>
                  <a:cubicBezTo>
                    <a:pt x="1764778" y="4517587"/>
                    <a:pt x="1646307" y="4636057"/>
                    <a:pt x="1499812" y="4636057"/>
                  </a:cubicBezTo>
                  <a:cubicBezTo>
                    <a:pt x="1353316" y="4634783"/>
                    <a:pt x="1234846" y="4517587"/>
                    <a:pt x="1234846" y="4371093"/>
                  </a:cubicBezTo>
                  <a:cubicBezTo>
                    <a:pt x="1234846" y="4224597"/>
                    <a:pt x="1353316" y="4106125"/>
                    <a:pt x="1499812" y="4106125"/>
                  </a:cubicBezTo>
                  <a:close/>
                  <a:moveTo>
                    <a:pt x="9489477" y="3495941"/>
                  </a:moveTo>
                  <a:lnTo>
                    <a:pt x="10000300" y="3495941"/>
                  </a:lnTo>
                  <a:lnTo>
                    <a:pt x="10000300" y="3597851"/>
                  </a:lnTo>
                  <a:lnTo>
                    <a:pt x="9489477" y="3597851"/>
                  </a:lnTo>
                  <a:close/>
                  <a:moveTo>
                    <a:pt x="2066685" y="3495941"/>
                  </a:moveTo>
                  <a:lnTo>
                    <a:pt x="2154931" y="3495941"/>
                  </a:lnTo>
                  <a:lnTo>
                    <a:pt x="2133958" y="3530464"/>
                  </a:lnTo>
                  <a:lnTo>
                    <a:pt x="2101496" y="3597851"/>
                  </a:lnTo>
                  <a:lnTo>
                    <a:pt x="2066685" y="3597851"/>
                  </a:lnTo>
                  <a:close/>
                  <a:moveTo>
                    <a:pt x="674343" y="3383841"/>
                  </a:moveTo>
                  <a:cubicBezTo>
                    <a:pt x="583899" y="3383841"/>
                    <a:pt x="511289" y="3456451"/>
                    <a:pt x="511289" y="3546897"/>
                  </a:cubicBezTo>
                  <a:cubicBezTo>
                    <a:pt x="511289" y="3637341"/>
                    <a:pt x="583899" y="3709953"/>
                    <a:pt x="674343" y="3709953"/>
                  </a:cubicBezTo>
                  <a:cubicBezTo>
                    <a:pt x="764789" y="3709953"/>
                    <a:pt x="837399" y="3637341"/>
                    <a:pt x="837399" y="3546897"/>
                  </a:cubicBezTo>
                  <a:cubicBezTo>
                    <a:pt x="837399" y="3456451"/>
                    <a:pt x="764789" y="3383841"/>
                    <a:pt x="674343" y="3383841"/>
                  </a:cubicBezTo>
                  <a:close/>
                  <a:moveTo>
                    <a:pt x="8870376" y="3292121"/>
                  </a:moveTo>
                  <a:lnTo>
                    <a:pt x="8972285" y="3292121"/>
                  </a:lnTo>
                  <a:lnTo>
                    <a:pt x="8972285" y="3802945"/>
                  </a:lnTo>
                  <a:lnTo>
                    <a:pt x="8870376" y="3802945"/>
                  </a:lnTo>
                  <a:close/>
                  <a:moveTo>
                    <a:pt x="8142327" y="3292121"/>
                  </a:moveTo>
                  <a:lnTo>
                    <a:pt x="8148089" y="3292121"/>
                  </a:lnTo>
                  <a:lnTo>
                    <a:pt x="8148089" y="3301606"/>
                  </a:lnTo>
                  <a:close/>
                  <a:moveTo>
                    <a:pt x="1447583" y="3292121"/>
                  </a:moveTo>
                  <a:lnTo>
                    <a:pt x="1549493" y="3292121"/>
                  </a:lnTo>
                  <a:lnTo>
                    <a:pt x="1549493" y="3802945"/>
                  </a:lnTo>
                  <a:lnTo>
                    <a:pt x="1447583" y="3802945"/>
                  </a:lnTo>
                  <a:close/>
                  <a:moveTo>
                    <a:pt x="675617" y="3281931"/>
                  </a:moveTo>
                  <a:cubicBezTo>
                    <a:pt x="822113" y="3281931"/>
                    <a:pt x="940583" y="3400401"/>
                    <a:pt x="940583" y="3546897"/>
                  </a:cubicBezTo>
                  <a:cubicBezTo>
                    <a:pt x="940583" y="3693393"/>
                    <a:pt x="822113" y="3811861"/>
                    <a:pt x="675617" y="3811861"/>
                  </a:cubicBezTo>
                  <a:cubicBezTo>
                    <a:pt x="529123" y="3811861"/>
                    <a:pt x="410652" y="3693393"/>
                    <a:pt x="410652" y="3546897"/>
                  </a:cubicBezTo>
                  <a:cubicBezTo>
                    <a:pt x="410652" y="3400401"/>
                    <a:pt x="529123" y="3281931"/>
                    <a:pt x="675617" y="3281931"/>
                  </a:cubicBezTo>
                  <a:close/>
                  <a:moveTo>
                    <a:pt x="1242482" y="2671745"/>
                  </a:moveTo>
                  <a:lnTo>
                    <a:pt x="1753305" y="2671745"/>
                  </a:lnTo>
                  <a:lnTo>
                    <a:pt x="1753305" y="2773657"/>
                  </a:lnTo>
                  <a:lnTo>
                    <a:pt x="1242482" y="2773657"/>
                  </a:lnTo>
                  <a:close/>
                  <a:moveTo>
                    <a:pt x="8921331" y="2560919"/>
                  </a:moveTo>
                  <a:cubicBezTo>
                    <a:pt x="8832160" y="2560919"/>
                    <a:pt x="8758275" y="2633529"/>
                    <a:pt x="8758275" y="2723975"/>
                  </a:cubicBezTo>
                  <a:cubicBezTo>
                    <a:pt x="8758275" y="2814419"/>
                    <a:pt x="8830885" y="2887029"/>
                    <a:pt x="8921331" y="2887029"/>
                  </a:cubicBezTo>
                  <a:cubicBezTo>
                    <a:pt x="9011776" y="2887029"/>
                    <a:pt x="9084386" y="2814419"/>
                    <a:pt x="9084386" y="2723975"/>
                  </a:cubicBezTo>
                  <a:cubicBezTo>
                    <a:pt x="9084386" y="2633529"/>
                    <a:pt x="9011776" y="2560919"/>
                    <a:pt x="8921331" y="2560919"/>
                  </a:cubicBezTo>
                  <a:close/>
                  <a:moveTo>
                    <a:pt x="2322726" y="2560919"/>
                  </a:moveTo>
                  <a:cubicBezTo>
                    <a:pt x="2232282" y="2560919"/>
                    <a:pt x="2159671" y="2633529"/>
                    <a:pt x="2159671" y="2723975"/>
                  </a:cubicBezTo>
                  <a:cubicBezTo>
                    <a:pt x="2159671" y="2814419"/>
                    <a:pt x="2232282" y="2887029"/>
                    <a:pt x="2322726" y="2887029"/>
                  </a:cubicBezTo>
                  <a:cubicBezTo>
                    <a:pt x="2411897" y="2885757"/>
                    <a:pt x="2485782" y="2813145"/>
                    <a:pt x="2485782" y="2723975"/>
                  </a:cubicBezTo>
                  <a:cubicBezTo>
                    <a:pt x="2485782" y="2633529"/>
                    <a:pt x="2413173" y="2560919"/>
                    <a:pt x="2322726" y="2560919"/>
                  </a:cubicBezTo>
                  <a:close/>
                  <a:moveTo>
                    <a:pt x="9694571" y="2553886"/>
                  </a:moveTo>
                  <a:lnTo>
                    <a:pt x="9792198" y="2714584"/>
                  </a:lnTo>
                  <a:lnTo>
                    <a:pt x="9796481" y="2723476"/>
                  </a:lnTo>
                  <a:lnTo>
                    <a:pt x="9796481" y="2978749"/>
                  </a:lnTo>
                  <a:lnTo>
                    <a:pt x="9694571" y="2978749"/>
                  </a:lnTo>
                  <a:close/>
                  <a:moveTo>
                    <a:pt x="772671" y="2477905"/>
                  </a:moveTo>
                  <a:lnTo>
                    <a:pt x="778813" y="2479809"/>
                  </a:lnTo>
                  <a:cubicBezTo>
                    <a:pt x="873936" y="2519996"/>
                    <a:pt x="940575" y="2614103"/>
                    <a:pt x="940575" y="2723975"/>
                  </a:cubicBezTo>
                  <a:cubicBezTo>
                    <a:pt x="940575" y="2870469"/>
                    <a:pt x="822106" y="2988941"/>
                    <a:pt x="675608" y="2988941"/>
                  </a:cubicBezTo>
                  <a:cubicBezTo>
                    <a:pt x="620673" y="2988463"/>
                    <a:pt x="569678" y="2971504"/>
                    <a:pt x="527394" y="2942835"/>
                  </a:cubicBezTo>
                  <a:lnTo>
                    <a:pt x="521341" y="2937832"/>
                  </a:lnTo>
                  <a:lnTo>
                    <a:pt x="566336" y="2844427"/>
                  </a:lnTo>
                  <a:lnTo>
                    <a:pt x="610701" y="2874271"/>
                  </a:lnTo>
                  <a:cubicBezTo>
                    <a:pt x="630227" y="2882491"/>
                    <a:pt x="651723" y="2887029"/>
                    <a:pt x="674334" y="2887029"/>
                  </a:cubicBezTo>
                  <a:cubicBezTo>
                    <a:pt x="764780" y="2885757"/>
                    <a:pt x="837390" y="2813145"/>
                    <a:pt x="837390" y="2723975"/>
                  </a:cubicBezTo>
                  <a:cubicBezTo>
                    <a:pt x="837390" y="2656141"/>
                    <a:pt x="796547" y="2598339"/>
                    <a:pt x="737968" y="2573678"/>
                  </a:cubicBezTo>
                  <a:lnTo>
                    <a:pt x="717037" y="2569481"/>
                  </a:lnTo>
                  <a:close/>
                  <a:moveTo>
                    <a:pt x="8046180" y="2467925"/>
                  </a:moveTo>
                  <a:lnTo>
                    <a:pt x="8148089" y="2467925"/>
                  </a:lnTo>
                  <a:lnTo>
                    <a:pt x="8148089" y="2978749"/>
                  </a:lnTo>
                  <a:lnTo>
                    <a:pt x="8046180" y="2978749"/>
                  </a:lnTo>
                  <a:close/>
                  <a:moveTo>
                    <a:pt x="8921331" y="2459009"/>
                  </a:moveTo>
                  <a:cubicBezTo>
                    <a:pt x="9067826" y="2459009"/>
                    <a:pt x="9186296" y="2577479"/>
                    <a:pt x="9186296" y="2723975"/>
                  </a:cubicBezTo>
                  <a:cubicBezTo>
                    <a:pt x="9186296" y="2870469"/>
                    <a:pt x="9067826" y="2988941"/>
                    <a:pt x="8921331" y="2988941"/>
                  </a:cubicBezTo>
                  <a:cubicBezTo>
                    <a:pt x="8774836" y="2988941"/>
                    <a:pt x="8656365" y="2870469"/>
                    <a:pt x="8656365" y="2723975"/>
                  </a:cubicBezTo>
                  <a:cubicBezTo>
                    <a:pt x="8656365" y="2577479"/>
                    <a:pt x="8774836" y="2459009"/>
                    <a:pt x="8921331" y="2459009"/>
                  </a:cubicBezTo>
                  <a:close/>
                  <a:moveTo>
                    <a:pt x="2322726" y="2459009"/>
                  </a:moveTo>
                  <a:cubicBezTo>
                    <a:pt x="2469222" y="2459009"/>
                    <a:pt x="2587692" y="2577479"/>
                    <a:pt x="2587692" y="2723975"/>
                  </a:cubicBezTo>
                  <a:cubicBezTo>
                    <a:pt x="2587692" y="2870469"/>
                    <a:pt x="2469222" y="2988941"/>
                    <a:pt x="2322726" y="2988941"/>
                  </a:cubicBezTo>
                  <a:cubicBezTo>
                    <a:pt x="2176232" y="2988941"/>
                    <a:pt x="2057761" y="2869197"/>
                    <a:pt x="2057761" y="2723975"/>
                  </a:cubicBezTo>
                  <a:cubicBezTo>
                    <a:pt x="2057761" y="2577479"/>
                    <a:pt x="2176232" y="2459009"/>
                    <a:pt x="2322726" y="2459009"/>
                  </a:cubicBezTo>
                  <a:close/>
                  <a:moveTo>
                    <a:pt x="7842360" y="1848825"/>
                  </a:moveTo>
                  <a:lnTo>
                    <a:pt x="8353182" y="1848825"/>
                  </a:lnTo>
                  <a:lnTo>
                    <a:pt x="8353182" y="1950733"/>
                  </a:lnTo>
                  <a:lnTo>
                    <a:pt x="7842360" y="1950733"/>
                  </a:lnTo>
                  <a:close/>
                  <a:moveTo>
                    <a:pt x="6223404" y="1848825"/>
                  </a:moveTo>
                  <a:lnTo>
                    <a:pt x="6704792" y="1848825"/>
                  </a:lnTo>
                  <a:lnTo>
                    <a:pt x="6704792" y="1950733"/>
                  </a:lnTo>
                  <a:lnTo>
                    <a:pt x="6512646" y="1950733"/>
                  </a:lnTo>
                  <a:lnTo>
                    <a:pt x="6413573" y="1911670"/>
                  </a:lnTo>
                  <a:cubicBezTo>
                    <a:pt x="6359984" y="1892049"/>
                    <a:pt x="6305781" y="1873700"/>
                    <a:pt x="6251001" y="1856662"/>
                  </a:cubicBezTo>
                  <a:close/>
                  <a:moveTo>
                    <a:pt x="2890884" y="1848825"/>
                  </a:moveTo>
                  <a:lnTo>
                    <a:pt x="3401707" y="1848825"/>
                  </a:lnTo>
                  <a:lnTo>
                    <a:pt x="3401707" y="1950733"/>
                  </a:lnTo>
                  <a:lnTo>
                    <a:pt x="2890884" y="1950733"/>
                  </a:lnTo>
                  <a:close/>
                  <a:moveTo>
                    <a:pt x="1242493" y="1848825"/>
                  </a:moveTo>
                  <a:lnTo>
                    <a:pt x="1753316" y="1848825"/>
                  </a:lnTo>
                  <a:lnTo>
                    <a:pt x="1753316" y="1950733"/>
                  </a:lnTo>
                  <a:lnTo>
                    <a:pt x="1242493" y="1950733"/>
                  </a:lnTo>
                  <a:close/>
                  <a:moveTo>
                    <a:pt x="8921331" y="1736725"/>
                  </a:moveTo>
                  <a:cubicBezTo>
                    <a:pt x="8832160" y="1736725"/>
                    <a:pt x="8758275" y="1809335"/>
                    <a:pt x="8758275" y="1899781"/>
                  </a:cubicBezTo>
                  <a:cubicBezTo>
                    <a:pt x="8758275" y="1990225"/>
                    <a:pt x="8830885" y="2062835"/>
                    <a:pt x="8921331" y="2062835"/>
                  </a:cubicBezTo>
                  <a:cubicBezTo>
                    <a:pt x="9011776" y="2062835"/>
                    <a:pt x="9084386" y="1990225"/>
                    <a:pt x="9084386" y="1899781"/>
                  </a:cubicBezTo>
                  <a:cubicBezTo>
                    <a:pt x="9084386" y="1809335"/>
                    <a:pt x="9011776" y="1736725"/>
                    <a:pt x="8921331" y="1736725"/>
                  </a:cubicBezTo>
                  <a:close/>
                  <a:moveTo>
                    <a:pt x="7223258" y="1643731"/>
                  </a:moveTo>
                  <a:lnTo>
                    <a:pt x="7325168" y="1643731"/>
                  </a:lnTo>
                  <a:lnTo>
                    <a:pt x="7325168" y="2154553"/>
                  </a:lnTo>
                  <a:lnTo>
                    <a:pt x="7223258" y="2154553"/>
                  </a:lnTo>
                  <a:close/>
                  <a:moveTo>
                    <a:pt x="2271782" y="1643731"/>
                  </a:moveTo>
                  <a:lnTo>
                    <a:pt x="2373691" y="1643731"/>
                  </a:lnTo>
                  <a:lnTo>
                    <a:pt x="2373691" y="2154553"/>
                  </a:lnTo>
                  <a:lnTo>
                    <a:pt x="2271782" y="2154553"/>
                  </a:lnTo>
                  <a:close/>
                  <a:moveTo>
                    <a:pt x="8921331" y="1634813"/>
                  </a:moveTo>
                  <a:cubicBezTo>
                    <a:pt x="8957955" y="1634813"/>
                    <a:pt x="8992827" y="1642218"/>
                    <a:pt x="9024534" y="1655614"/>
                  </a:cubicBezTo>
                  <a:lnTo>
                    <a:pt x="9036119" y="1661896"/>
                  </a:lnTo>
                  <a:lnTo>
                    <a:pt x="9067478" y="1694788"/>
                  </a:lnTo>
                  <a:lnTo>
                    <a:pt x="9168482" y="1811390"/>
                  </a:lnTo>
                  <a:lnTo>
                    <a:pt x="9186296" y="1899781"/>
                  </a:lnTo>
                  <a:cubicBezTo>
                    <a:pt x="9186296" y="2046275"/>
                    <a:pt x="9067826" y="2164745"/>
                    <a:pt x="8921331" y="2164745"/>
                  </a:cubicBezTo>
                  <a:cubicBezTo>
                    <a:pt x="8774836" y="2164745"/>
                    <a:pt x="8656365" y="2046275"/>
                    <a:pt x="8656365" y="1899781"/>
                  </a:cubicBezTo>
                  <a:cubicBezTo>
                    <a:pt x="8656365" y="1753285"/>
                    <a:pt x="8774836" y="1634813"/>
                    <a:pt x="8921331" y="1634813"/>
                  </a:cubicBezTo>
                  <a:close/>
                  <a:moveTo>
                    <a:pt x="3969851" y="1634813"/>
                  </a:moveTo>
                  <a:cubicBezTo>
                    <a:pt x="4079723" y="1634813"/>
                    <a:pt x="4173831" y="1701454"/>
                    <a:pt x="4214017" y="1796577"/>
                  </a:cubicBezTo>
                  <a:lnTo>
                    <a:pt x="4223093" y="1841608"/>
                  </a:lnTo>
                  <a:lnTo>
                    <a:pt x="4170081" y="1856662"/>
                  </a:lnTo>
                  <a:lnTo>
                    <a:pt x="4127174" y="1871180"/>
                  </a:lnTo>
                  <a:lnTo>
                    <a:pt x="4120150" y="1836147"/>
                  </a:lnTo>
                  <a:cubicBezTo>
                    <a:pt x="4095488" y="1777568"/>
                    <a:pt x="4037686" y="1736725"/>
                    <a:pt x="3969851" y="1736725"/>
                  </a:cubicBezTo>
                  <a:cubicBezTo>
                    <a:pt x="3880680" y="1736725"/>
                    <a:pt x="3806796" y="1809335"/>
                    <a:pt x="3806796" y="1899781"/>
                  </a:cubicBezTo>
                  <a:cubicBezTo>
                    <a:pt x="3806796" y="1922392"/>
                    <a:pt x="3811334" y="1943889"/>
                    <a:pt x="3819555" y="1963414"/>
                  </a:cubicBezTo>
                  <a:lnTo>
                    <a:pt x="3832208" y="1982224"/>
                  </a:lnTo>
                  <a:lnTo>
                    <a:pt x="3741230" y="2026051"/>
                  </a:lnTo>
                  <a:lnTo>
                    <a:pt x="3725686" y="2002984"/>
                  </a:lnTo>
                  <a:cubicBezTo>
                    <a:pt x="3712291" y="1971277"/>
                    <a:pt x="3704886" y="1936405"/>
                    <a:pt x="3704886" y="1899781"/>
                  </a:cubicBezTo>
                  <a:cubicBezTo>
                    <a:pt x="3704886" y="1753285"/>
                    <a:pt x="3823356" y="1634813"/>
                    <a:pt x="3969851" y="1634813"/>
                  </a:cubicBezTo>
                  <a:close/>
                  <a:moveTo>
                    <a:pt x="7842360" y="1024629"/>
                  </a:moveTo>
                  <a:lnTo>
                    <a:pt x="8330359" y="1024629"/>
                  </a:lnTo>
                  <a:lnTo>
                    <a:pt x="8353182" y="1042565"/>
                  </a:lnTo>
                  <a:lnTo>
                    <a:pt x="8353182" y="1126539"/>
                  </a:lnTo>
                  <a:lnTo>
                    <a:pt x="7842360" y="1126539"/>
                  </a:lnTo>
                  <a:close/>
                  <a:moveTo>
                    <a:pt x="5371048" y="1024629"/>
                  </a:moveTo>
                  <a:lnTo>
                    <a:pt x="5881870" y="1024629"/>
                  </a:lnTo>
                  <a:lnTo>
                    <a:pt x="5881870" y="1126539"/>
                  </a:lnTo>
                  <a:lnTo>
                    <a:pt x="5371048" y="1126539"/>
                  </a:lnTo>
                  <a:close/>
                  <a:moveTo>
                    <a:pt x="4538001" y="1024629"/>
                  </a:moveTo>
                  <a:lnTo>
                    <a:pt x="5048825" y="1024629"/>
                  </a:lnTo>
                  <a:lnTo>
                    <a:pt x="5048825" y="1126539"/>
                  </a:lnTo>
                  <a:lnTo>
                    <a:pt x="4538001" y="1126539"/>
                  </a:lnTo>
                  <a:close/>
                  <a:moveTo>
                    <a:pt x="2890886" y="1024629"/>
                  </a:moveTo>
                  <a:lnTo>
                    <a:pt x="3401709" y="1024629"/>
                  </a:lnTo>
                  <a:lnTo>
                    <a:pt x="3401709" y="1126539"/>
                  </a:lnTo>
                  <a:lnTo>
                    <a:pt x="2890886" y="1126539"/>
                  </a:lnTo>
                  <a:close/>
                  <a:moveTo>
                    <a:pt x="6450017" y="912529"/>
                  </a:moveTo>
                  <a:cubicBezTo>
                    <a:pt x="6359572" y="912529"/>
                    <a:pt x="6286962" y="985139"/>
                    <a:pt x="6286962" y="1075585"/>
                  </a:cubicBezTo>
                  <a:cubicBezTo>
                    <a:pt x="6286962" y="1166029"/>
                    <a:pt x="6359572" y="1238639"/>
                    <a:pt x="6450017" y="1238639"/>
                  </a:cubicBezTo>
                  <a:cubicBezTo>
                    <a:pt x="6540463" y="1238639"/>
                    <a:pt x="6613073" y="1166029"/>
                    <a:pt x="6613073" y="1075585"/>
                  </a:cubicBezTo>
                  <a:cubicBezTo>
                    <a:pt x="6613073" y="985139"/>
                    <a:pt x="6540463" y="912529"/>
                    <a:pt x="6450017" y="912529"/>
                  </a:cubicBezTo>
                  <a:close/>
                  <a:moveTo>
                    <a:pt x="2373692" y="828587"/>
                  </a:moveTo>
                  <a:lnTo>
                    <a:pt x="2373692" y="1331633"/>
                  </a:lnTo>
                  <a:lnTo>
                    <a:pt x="2271782" y="1331633"/>
                  </a:lnTo>
                  <a:lnTo>
                    <a:pt x="2271782" y="895706"/>
                  </a:lnTo>
                  <a:lnTo>
                    <a:pt x="2297278" y="877575"/>
                  </a:lnTo>
                  <a:close/>
                  <a:moveTo>
                    <a:pt x="7223258" y="820809"/>
                  </a:moveTo>
                  <a:lnTo>
                    <a:pt x="7325168" y="820809"/>
                  </a:lnTo>
                  <a:lnTo>
                    <a:pt x="7325168" y="1331633"/>
                  </a:lnTo>
                  <a:lnTo>
                    <a:pt x="7223258" y="1331633"/>
                  </a:lnTo>
                  <a:close/>
                  <a:moveTo>
                    <a:pt x="3918899" y="820809"/>
                  </a:moveTo>
                  <a:lnTo>
                    <a:pt x="4020808" y="820809"/>
                  </a:lnTo>
                  <a:lnTo>
                    <a:pt x="4020808" y="1331633"/>
                  </a:lnTo>
                  <a:lnTo>
                    <a:pt x="3918899" y="1331633"/>
                  </a:lnTo>
                  <a:close/>
                  <a:moveTo>
                    <a:pt x="6451292" y="810617"/>
                  </a:moveTo>
                  <a:cubicBezTo>
                    <a:pt x="6597788" y="810617"/>
                    <a:pt x="6716257" y="929089"/>
                    <a:pt x="6716257" y="1075585"/>
                  </a:cubicBezTo>
                  <a:cubicBezTo>
                    <a:pt x="6716257" y="1222079"/>
                    <a:pt x="6597788" y="1340549"/>
                    <a:pt x="6451292" y="1340549"/>
                  </a:cubicBezTo>
                  <a:cubicBezTo>
                    <a:pt x="6303522" y="1340549"/>
                    <a:pt x="6186326" y="1222079"/>
                    <a:pt x="6186326" y="1075585"/>
                  </a:cubicBezTo>
                  <a:cubicBezTo>
                    <a:pt x="6186326" y="929089"/>
                    <a:pt x="6304797" y="810617"/>
                    <a:pt x="6451292" y="810617"/>
                  </a:cubicBezTo>
                  <a:close/>
                  <a:moveTo>
                    <a:pt x="6399063" y="125503"/>
                  </a:moveTo>
                  <a:lnTo>
                    <a:pt x="6500973" y="149024"/>
                  </a:lnTo>
                  <a:lnTo>
                    <a:pt x="6500973" y="508711"/>
                  </a:lnTo>
                  <a:lnTo>
                    <a:pt x="6399063" y="508711"/>
                  </a:lnTo>
                  <a:close/>
                  <a:moveTo>
                    <a:pt x="4743094" y="101073"/>
                  </a:moveTo>
                  <a:lnTo>
                    <a:pt x="4845004" y="101073"/>
                  </a:lnTo>
                  <a:lnTo>
                    <a:pt x="4845004" y="508711"/>
                  </a:lnTo>
                  <a:lnTo>
                    <a:pt x="4743094" y="508711"/>
                  </a:lnTo>
                  <a:close/>
                  <a:moveTo>
                    <a:pt x="4174642" y="91020"/>
                  </a:moveTo>
                  <a:lnTo>
                    <a:pt x="4214021" y="149458"/>
                  </a:lnTo>
                  <a:cubicBezTo>
                    <a:pt x="4227416" y="181166"/>
                    <a:pt x="4234820" y="216038"/>
                    <a:pt x="4234820" y="252661"/>
                  </a:cubicBezTo>
                  <a:cubicBezTo>
                    <a:pt x="4234820" y="399157"/>
                    <a:pt x="4116350" y="517629"/>
                    <a:pt x="3969854" y="517629"/>
                  </a:cubicBezTo>
                  <a:cubicBezTo>
                    <a:pt x="3823359" y="517629"/>
                    <a:pt x="3704889" y="399157"/>
                    <a:pt x="3704889" y="252661"/>
                  </a:cubicBezTo>
                  <a:lnTo>
                    <a:pt x="3714113" y="206895"/>
                  </a:lnTo>
                  <a:lnTo>
                    <a:pt x="3829928" y="174007"/>
                  </a:lnTo>
                  <a:lnTo>
                    <a:pt x="3819737" y="189028"/>
                  </a:lnTo>
                  <a:cubicBezTo>
                    <a:pt x="3811417" y="208554"/>
                    <a:pt x="3806799" y="230050"/>
                    <a:pt x="3806799" y="252661"/>
                  </a:cubicBezTo>
                  <a:cubicBezTo>
                    <a:pt x="3806799" y="343107"/>
                    <a:pt x="3879410" y="415717"/>
                    <a:pt x="3969854" y="415717"/>
                  </a:cubicBezTo>
                  <a:cubicBezTo>
                    <a:pt x="4060300" y="415717"/>
                    <a:pt x="4132911" y="343107"/>
                    <a:pt x="4132911" y="252661"/>
                  </a:cubicBezTo>
                  <a:cubicBezTo>
                    <a:pt x="4132911" y="207439"/>
                    <a:pt x="4114759" y="166676"/>
                    <a:pt x="4085300" y="137218"/>
                  </a:cubicBezTo>
                  <a:lnTo>
                    <a:pt x="4056168" y="117622"/>
                  </a:lnTo>
                  <a:lnTo>
                    <a:pt x="4160436" y="93557"/>
                  </a:lnTo>
                  <a:close/>
                  <a:moveTo>
                    <a:pt x="5625822" y="89607"/>
                  </a:moveTo>
                  <a:cubicBezTo>
                    <a:pt x="5535377" y="89607"/>
                    <a:pt x="5462766" y="162217"/>
                    <a:pt x="5462766" y="252661"/>
                  </a:cubicBezTo>
                  <a:cubicBezTo>
                    <a:pt x="5462766" y="343107"/>
                    <a:pt x="5535377" y="415717"/>
                    <a:pt x="5625822" y="415717"/>
                  </a:cubicBezTo>
                  <a:cubicBezTo>
                    <a:pt x="5716267" y="414445"/>
                    <a:pt x="5788878" y="341833"/>
                    <a:pt x="5788878" y="252661"/>
                  </a:cubicBezTo>
                  <a:cubicBezTo>
                    <a:pt x="5788878" y="162217"/>
                    <a:pt x="5716267" y="89607"/>
                    <a:pt x="5625822" y="89607"/>
                  </a:cubicBezTo>
                  <a:close/>
                  <a:moveTo>
                    <a:pt x="5551305" y="0"/>
                  </a:moveTo>
                  <a:lnTo>
                    <a:pt x="5741268" y="14445"/>
                  </a:lnTo>
                  <a:lnTo>
                    <a:pt x="5775311" y="32907"/>
                  </a:lnTo>
                  <a:cubicBezTo>
                    <a:pt x="5845785" y="80491"/>
                    <a:pt x="5892062" y="161102"/>
                    <a:pt x="5892062" y="252661"/>
                  </a:cubicBezTo>
                  <a:cubicBezTo>
                    <a:pt x="5892062" y="399157"/>
                    <a:pt x="5773592" y="517629"/>
                    <a:pt x="5627096" y="517629"/>
                  </a:cubicBezTo>
                  <a:cubicBezTo>
                    <a:pt x="5480601" y="516353"/>
                    <a:pt x="5362131" y="397885"/>
                    <a:pt x="5362131" y="252661"/>
                  </a:cubicBezTo>
                  <a:cubicBezTo>
                    <a:pt x="5362131" y="142791"/>
                    <a:pt x="5428771" y="48684"/>
                    <a:pt x="5523893" y="8497"/>
                  </a:cubicBez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0"/>
                    <a:alpha val="15000"/>
                  </a:schemeClr>
                </a:gs>
                <a:gs pos="0">
                  <a:schemeClr val="accent1">
                    <a:lumMod val="50000"/>
                    <a:alpha val="0"/>
                  </a:schemeClr>
                </a:gs>
              </a:gsLst>
              <a:lin ang="18900000" scaled="0"/>
            </a:gradFill>
            <a:ln w="127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430">
              <a:extLst>
                <a:ext uri="{FF2B5EF4-FFF2-40B4-BE49-F238E27FC236}">
                  <a16:creationId xmlns:a16="http://schemas.microsoft.com/office/drawing/2014/main" id="{3BE968C4-A5C5-0D4C-94D3-B2226D6355C0}"/>
                </a:ext>
              </a:extLst>
            </p:cNvPr>
            <p:cNvSpPr/>
            <p:nvPr userDrawn="1"/>
          </p:nvSpPr>
          <p:spPr>
            <a:xfrm>
              <a:off x="-5968729" y="-530765"/>
              <a:ext cx="10375356" cy="10394676"/>
            </a:xfrm>
            <a:custGeom>
              <a:avLst/>
              <a:gdLst>
                <a:gd name="connsiteX0" fmla="*/ 6202887 w 10375356"/>
                <a:gd name="connsiteY0" fmla="*/ 10086957 h 10394676"/>
                <a:gd name="connsiteX1" fmla="*/ 6713710 w 10375356"/>
                <a:gd name="connsiteY1" fmla="*/ 10086957 h 10394676"/>
                <a:gd name="connsiteX2" fmla="*/ 6713710 w 10375356"/>
                <a:gd name="connsiteY2" fmla="*/ 10187665 h 10394676"/>
                <a:gd name="connsiteX3" fmla="*/ 6709472 w 10375356"/>
                <a:gd name="connsiteY3" fmla="*/ 10188869 h 10394676"/>
                <a:gd name="connsiteX4" fmla="*/ 6202887 w 10375356"/>
                <a:gd name="connsiteY4" fmla="*/ 10188869 h 10394676"/>
                <a:gd name="connsiteX5" fmla="*/ 5634740 w 10375356"/>
                <a:gd name="connsiteY5" fmla="*/ 9974857 h 10394676"/>
                <a:gd name="connsiteX6" fmla="*/ 5471684 w 10375356"/>
                <a:gd name="connsiteY6" fmla="*/ 10137913 h 10394676"/>
                <a:gd name="connsiteX7" fmla="*/ 5634740 w 10375356"/>
                <a:gd name="connsiteY7" fmla="*/ 10300969 h 10394676"/>
                <a:gd name="connsiteX8" fmla="*/ 5797795 w 10375356"/>
                <a:gd name="connsiteY8" fmla="*/ 10137913 h 10394676"/>
                <a:gd name="connsiteX9" fmla="*/ 5634740 w 10375356"/>
                <a:gd name="connsiteY9" fmla="*/ 9974857 h 10394676"/>
                <a:gd name="connsiteX10" fmla="*/ 7232175 w 10375356"/>
                <a:gd name="connsiteY10" fmla="*/ 9881865 h 10394676"/>
                <a:gd name="connsiteX11" fmla="*/ 7334085 w 10375356"/>
                <a:gd name="connsiteY11" fmla="*/ 9881865 h 10394676"/>
                <a:gd name="connsiteX12" fmla="*/ 7334085 w 10375356"/>
                <a:gd name="connsiteY12" fmla="*/ 9956193 h 10394676"/>
                <a:gd name="connsiteX13" fmla="*/ 7238719 w 10375356"/>
                <a:gd name="connsiteY13" fmla="*/ 9999307 h 10394676"/>
                <a:gd name="connsiteX14" fmla="*/ 7232175 w 10375356"/>
                <a:gd name="connsiteY14" fmla="*/ 10001887 h 10394676"/>
                <a:gd name="connsiteX15" fmla="*/ 4751991 w 10375356"/>
                <a:gd name="connsiteY15" fmla="*/ 9881865 h 10394676"/>
                <a:gd name="connsiteX16" fmla="*/ 4853901 w 10375356"/>
                <a:gd name="connsiteY16" fmla="*/ 9881865 h 10394676"/>
                <a:gd name="connsiteX17" fmla="*/ 4853901 w 10375356"/>
                <a:gd name="connsiteY17" fmla="*/ 10290777 h 10394676"/>
                <a:gd name="connsiteX18" fmla="*/ 4751991 w 10375356"/>
                <a:gd name="connsiteY18" fmla="*/ 10290777 h 10394676"/>
                <a:gd name="connsiteX19" fmla="*/ 5636013 w 10375356"/>
                <a:gd name="connsiteY19" fmla="*/ 9872947 h 10394676"/>
                <a:gd name="connsiteX20" fmla="*/ 5900978 w 10375356"/>
                <a:gd name="connsiteY20" fmla="*/ 10137913 h 10394676"/>
                <a:gd name="connsiteX21" fmla="*/ 5739217 w 10375356"/>
                <a:gd name="connsiteY21" fmla="*/ 10382077 h 10394676"/>
                <a:gd name="connsiteX22" fmla="*/ 5738756 w 10375356"/>
                <a:gd name="connsiteY22" fmla="*/ 10382220 h 10394676"/>
                <a:gd name="connsiteX23" fmla="*/ 5574951 w 10375356"/>
                <a:gd name="connsiteY23" fmla="*/ 10394676 h 10394676"/>
                <a:gd name="connsiteX24" fmla="*/ 5532810 w 10375356"/>
                <a:gd name="connsiteY24" fmla="*/ 10381361 h 10394676"/>
                <a:gd name="connsiteX25" fmla="*/ 5371048 w 10375356"/>
                <a:gd name="connsiteY25" fmla="*/ 10137913 h 10394676"/>
                <a:gd name="connsiteX26" fmla="*/ 5636013 w 10375356"/>
                <a:gd name="connsiteY26" fmla="*/ 9872947 h 10394676"/>
                <a:gd name="connsiteX27" fmla="*/ 3978752 w 10375356"/>
                <a:gd name="connsiteY27" fmla="*/ 9872947 h 10394676"/>
                <a:gd name="connsiteX28" fmla="*/ 4243718 w 10375356"/>
                <a:gd name="connsiteY28" fmla="*/ 10137913 h 10394676"/>
                <a:gd name="connsiteX29" fmla="*/ 4222918 w 10375356"/>
                <a:gd name="connsiteY29" fmla="*/ 10241117 h 10394676"/>
                <a:gd name="connsiteX30" fmla="*/ 4179036 w 10375356"/>
                <a:gd name="connsiteY30" fmla="*/ 10306239 h 10394676"/>
                <a:gd name="connsiteX31" fmla="*/ 4160436 w 10375356"/>
                <a:gd name="connsiteY31" fmla="*/ 10302917 h 10394676"/>
                <a:gd name="connsiteX32" fmla="*/ 4056265 w 10375356"/>
                <a:gd name="connsiteY32" fmla="*/ 10278875 h 10394676"/>
                <a:gd name="connsiteX33" fmla="*/ 4094199 w 10375356"/>
                <a:gd name="connsiteY33" fmla="*/ 10253357 h 10394676"/>
                <a:gd name="connsiteX34" fmla="*/ 4141809 w 10375356"/>
                <a:gd name="connsiteY34" fmla="*/ 10137913 h 10394676"/>
                <a:gd name="connsiteX35" fmla="*/ 3978752 w 10375356"/>
                <a:gd name="connsiteY35" fmla="*/ 9974857 h 10394676"/>
                <a:gd name="connsiteX36" fmla="*/ 3815698 w 10375356"/>
                <a:gd name="connsiteY36" fmla="*/ 10137913 h 10394676"/>
                <a:gd name="connsiteX37" fmla="*/ 3828457 w 10375356"/>
                <a:gd name="connsiteY37" fmla="*/ 10201547 h 10394676"/>
                <a:gd name="connsiteX38" fmla="*/ 3845505 w 10375356"/>
                <a:gd name="connsiteY38" fmla="*/ 10226891 h 10394676"/>
                <a:gd name="connsiteX39" fmla="*/ 3724813 w 10375356"/>
                <a:gd name="connsiteY39" fmla="*/ 10192618 h 10394676"/>
                <a:gd name="connsiteX40" fmla="*/ 3713787 w 10375356"/>
                <a:gd name="connsiteY40" fmla="*/ 10137913 h 10394676"/>
                <a:gd name="connsiteX41" fmla="*/ 3978752 w 10375356"/>
                <a:gd name="connsiteY41" fmla="*/ 9872947 h 10394676"/>
                <a:gd name="connsiteX42" fmla="*/ 3155832 w 10375356"/>
                <a:gd name="connsiteY42" fmla="*/ 9872947 h 10394676"/>
                <a:gd name="connsiteX43" fmla="*/ 3399999 w 10375356"/>
                <a:gd name="connsiteY43" fmla="*/ 10034709 h 10394676"/>
                <a:gd name="connsiteX44" fmla="*/ 3411035 w 10375356"/>
                <a:gd name="connsiteY44" fmla="*/ 10089469 h 10394676"/>
                <a:gd name="connsiteX45" fmla="*/ 3280434 w 10375356"/>
                <a:gd name="connsiteY45" fmla="*/ 10037975 h 10394676"/>
                <a:gd name="connsiteX46" fmla="*/ 3270003 w 10375356"/>
                <a:gd name="connsiteY46" fmla="*/ 10022469 h 10394676"/>
                <a:gd name="connsiteX47" fmla="*/ 3154558 w 10375356"/>
                <a:gd name="connsiteY47" fmla="*/ 9974857 h 10394676"/>
                <a:gd name="connsiteX48" fmla="*/ 3136355 w 10375356"/>
                <a:gd name="connsiteY48" fmla="*/ 9978507 h 10394676"/>
                <a:gd name="connsiteX49" fmla="*/ 3005935 w 10375356"/>
                <a:gd name="connsiteY49" fmla="*/ 9919545 h 10394676"/>
                <a:gd name="connsiteX50" fmla="*/ 3007618 w 10375356"/>
                <a:gd name="connsiteY50" fmla="*/ 9918157 h 10394676"/>
                <a:gd name="connsiteX51" fmla="*/ 3155832 w 10375356"/>
                <a:gd name="connsiteY51" fmla="*/ 9872947 h 10394676"/>
                <a:gd name="connsiteX52" fmla="*/ 7851277 w 10375356"/>
                <a:gd name="connsiteY52" fmla="*/ 9262761 h 10394676"/>
                <a:gd name="connsiteX53" fmla="*/ 8362099 w 10375356"/>
                <a:gd name="connsiteY53" fmla="*/ 9262761 h 10394676"/>
                <a:gd name="connsiteX54" fmla="*/ 8362099 w 10375356"/>
                <a:gd name="connsiteY54" fmla="*/ 9346902 h 10394676"/>
                <a:gd name="connsiteX55" fmla="*/ 8339488 w 10375356"/>
                <a:gd name="connsiteY55" fmla="*/ 9364671 h 10394676"/>
                <a:gd name="connsiteX56" fmla="*/ 7851277 w 10375356"/>
                <a:gd name="connsiteY56" fmla="*/ 9364671 h 10394676"/>
                <a:gd name="connsiteX57" fmla="*/ 5379965 w 10375356"/>
                <a:gd name="connsiteY57" fmla="*/ 9262761 h 10394676"/>
                <a:gd name="connsiteX58" fmla="*/ 5890787 w 10375356"/>
                <a:gd name="connsiteY58" fmla="*/ 9262761 h 10394676"/>
                <a:gd name="connsiteX59" fmla="*/ 5890787 w 10375356"/>
                <a:gd name="connsiteY59" fmla="*/ 9364671 h 10394676"/>
                <a:gd name="connsiteX60" fmla="*/ 5379965 w 10375356"/>
                <a:gd name="connsiteY60" fmla="*/ 9364671 h 10394676"/>
                <a:gd name="connsiteX61" fmla="*/ 4546902 w 10375356"/>
                <a:gd name="connsiteY61" fmla="*/ 9262761 h 10394676"/>
                <a:gd name="connsiteX62" fmla="*/ 5057725 w 10375356"/>
                <a:gd name="connsiteY62" fmla="*/ 9262761 h 10394676"/>
                <a:gd name="connsiteX63" fmla="*/ 5057725 w 10375356"/>
                <a:gd name="connsiteY63" fmla="*/ 9364671 h 10394676"/>
                <a:gd name="connsiteX64" fmla="*/ 4546902 w 10375356"/>
                <a:gd name="connsiteY64" fmla="*/ 9364671 h 10394676"/>
                <a:gd name="connsiteX65" fmla="*/ 2899787 w 10375356"/>
                <a:gd name="connsiteY65" fmla="*/ 9262761 h 10394676"/>
                <a:gd name="connsiteX66" fmla="*/ 3410609 w 10375356"/>
                <a:gd name="connsiteY66" fmla="*/ 9262761 h 10394676"/>
                <a:gd name="connsiteX67" fmla="*/ 3410609 w 10375356"/>
                <a:gd name="connsiteY67" fmla="*/ 9364671 h 10394676"/>
                <a:gd name="connsiteX68" fmla="*/ 2899787 w 10375356"/>
                <a:gd name="connsiteY68" fmla="*/ 9364671 h 10394676"/>
                <a:gd name="connsiteX69" fmla="*/ 6450017 w 10375356"/>
                <a:gd name="connsiteY69" fmla="*/ 9150661 h 10394676"/>
                <a:gd name="connsiteX70" fmla="*/ 6286962 w 10375356"/>
                <a:gd name="connsiteY70" fmla="*/ 9313717 h 10394676"/>
                <a:gd name="connsiteX71" fmla="*/ 6450017 w 10375356"/>
                <a:gd name="connsiteY71" fmla="*/ 9476773 h 10394676"/>
                <a:gd name="connsiteX72" fmla="*/ 6613073 w 10375356"/>
                <a:gd name="connsiteY72" fmla="*/ 9313717 h 10394676"/>
                <a:gd name="connsiteX73" fmla="*/ 6450017 w 10375356"/>
                <a:gd name="connsiteY73" fmla="*/ 9150661 h 10394676"/>
                <a:gd name="connsiteX74" fmla="*/ 3978754 w 10375356"/>
                <a:gd name="connsiteY74" fmla="*/ 9150661 h 10394676"/>
                <a:gd name="connsiteX75" fmla="*/ 3815700 w 10375356"/>
                <a:gd name="connsiteY75" fmla="*/ 9313717 h 10394676"/>
                <a:gd name="connsiteX76" fmla="*/ 3978754 w 10375356"/>
                <a:gd name="connsiteY76" fmla="*/ 9476773 h 10394676"/>
                <a:gd name="connsiteX77" fmla="*/ 4141811 w 10375356"/>
                <a:gd name="connsiteY77" fmla="*/ 9313717 h 10394676"/>
                <a:gd name="connsiteX78" fmla="*/ 3978754 w 10375356"/>
                <a:gd name="connsiteY78" fmla="*/ 9150661 h 10394676"/>
                <a:gd name="connsiteX79" fmla="*/ 7232175 w 10375356"/>
                <a:gd name="connsiteY79" fmla="*/ 9057669 h 10394676"/>
                <a:gd name="connsiteX80" fmla="*/ 7334085 w 10375356"/>
                <a:gd name="connsiteY80" fmla="*/ 9057669 h 10394676"/>
                <a:gd name="connsiteX81" fmla="*/ 7334085 w 10375356"/>
                <a:gd name="connsiteY81" fmla="*/ 9568493 h 10394676"/>
                <a:gd name="connsiteX82" fmla="*/ 7232175 w 10375356"/>
                <a:gd name="connsiteY82" fmla="*/ 9568493 h 10394676"/>
                <a:gd name="connsiteX83" fmla="*/ 2280685 w 10375356"/>
                <a:gd name="connsiteY83" fmla="*/ 9057669 h 10394676"/>
                <a:gd name="connsiteX84" fmla="*/ 2382595 w 10375356"/>
                <a:gd name="connsiteY84" fmla="*/ 9057669 h 10394676"/>
                <a:gd name="connsiteX85" fmla="*/ 2382595 w 10375356"/>
                <a:gd name="connsiteY85" fmla="*/ 9568493 h 10394676"/>
                <a:gd name="connsiteX86" fmla="*/ 2374638 w 10375356"/>
                <a:gd name="connsiteY86" fmla="*/ 9568493 h 10394676"/>
                <a:gd name="connsiteX87" fmla="*/ 2297278 w 10375356"/>
                <a:gd name="connsiteY87" fmla="*/ 9518899 h 10394676"/>
                <a:gd name="connsiteX88" fmla="*/ 2280685 w 10375356"/>
                <a:gd name="connsiteY88" fmla="*/ 9507099 h 10394676"/>
                <a:gd name="connsiteX89" fmla="*/ 6450017 w 10375356"/>
                <a:gd name="connsiteY89" fmla="*/ 9048751 h 10394676"/>
                <a:gd name="connsiteX90" fmla="*/ 6714982 w 10375356"/>
                <a:gd name="connsiteY90" fmla="*/ 9313717 h 10394676"/>
                <a:gd name="connsiteX91" fmla="*/ 6450017 w 10375356"/>
                <a:gd name="connsiteY91" fmla="*/ 9578681 h 10394676"/>
                <a:gd name="connsiteX92" fmla="*/ 6185052 w 10375356"/>
                <a:gd name="connsiteY92" fmla="*/ 9313717 h 10394676"/>
                <a:gd name="connsiteX93" fmla="*/ 6450017 w 10375356"/>
                <a:gd name="connsiteY93" fmla="*/ 9048751 h 10394676"/>
                <a:gd name="connsiteX94" fmla="*/ 3978754 w 10375356"/>
                <a:gd name="connsiteY94" fmla="*/ 9048751 h 10394676"/>
                <a:gd name="connsiteX95" fmla="*/ 4243720 w 10375356"/>
                <a:gd name="connsiteY95" fmla="*/ 9313717 h 10394676"/>
                <a:gd name="connsiteX96" fmla="*/ 3978754 w 10375356"/>
                <a:gd name="connsiteY96" fmla="*/ 9578681 h 10394676"/>
                <a:gd name="connsiteX97" fmla="*/ 3713789 w 10375356"/>
                <a:gd name="connsiteY97" fmla="*/ 9313717 h 10394676"/>
                <a:gd name="connsiteX98" fmla="*/ 3978754 w 10375356"/>
                <a:gd name="connsiteY98" fmla="*/ 9048751 h 10394676"/>
                <a:gd name="connsiteX99" fmla="*/ 5676776 w 10375356"/>
                <a:gd name="connsiteY99" fmla="*/ 8665264 h 10394676"/>
                <a:gd name="connsiteX100" fmla="*/ 5676776 w 10375356"/>
                <a:gd name="connsiteY100" fmla="*/ 8745569 h 10394676"/>
                <a:gd name="connsiteX101" fmla="*/ 5574867 w 10375356"/>
                <a:gd name="connsiteY101" fmla="*/ 8745569 h 10394676"/>
                <a:gd name="connsiteX102" fmla="*/ 5574867 w 10375356"/>
                <a:gd name="connsiteY102" fmla="*/ 8678214 h 10394676"/>
                <a:gd name="connsiteX103" fmla="*/ 3918880 w 10375356"/>
                <a:gd name="connsiteY103" fmla="*/ 8449859 h 10394676"/>
                <a:gd name="connsiteX104" fmla="*/ 4007509 w 10375356"/>
                <a:gd name="connsiteY104" fmla="*/ 8484804 h 10394676"/>
                <a:gd name="connsiteX105" fmla="*/ 4020789 w 10375356"/>
                <a:gd name="connsiteY105" fmla="*/ 8489298 h 10394676"/>
                <a:gd name="connsiteX106" fmla="*/ 4020789 w 10375356"/>
                <a:gd name="connsiteY106" fmla="*/ 8745569 h 10394676"/>
                <a:gd name="connsiteX107" fmla="*/ 3918880 w 10375356"/>
                <a:gd name="connsiteY107" fmla="*/ 8745569 h 10394676"/>
                <a:gd name="connsiteX108" fmla="*/ 7018165 w 10375356"/>
                <a:gd name="connsiteY108" fmla="*/ 8438567 h 10394676"/>
                <a:gd name="connsiteX109" fmla="*/ 7528988 w 10375356"/>
                <a:gd name="connsiteY109" fmla="*/ 8438567 h 10394676"/>
                <a:gd name="connsiteX110" fmla="*/ 7528988 w 10375356"/>
                <a:gd name="connsiteY110" fmla="*/ 8540477 h 10394676"/>
                <a:gd name="connsiteX111" fmla="*/ 7018165 w 10375356"/>
                <a:gd name="connsiteY111" fmla="*/ 8540477 h 10394676"/>
                <a:gd name="connsiteX112" fmla="*/ 6530840 w 10375356"/>
                <a:gd name="connsiteY112" fmla="*/ 8438567 h 10394676"/>
                <a:gd name="connsiteX113" fmla="*/ 6697148 w 10375356"/>
                <a:gd name="connsiteY113" fmla="*/ 8438567 h 10394676"/>
                <a:gd name="connsiteX114" fmla="*/ 6697148 w 10375356"/>
                <a:gd name="connsiteY114" fmla="*/ 8540477 h 10394676"/>
                <a:gd name="connsiteX115" fmla="*/ 6248661 w 10375356"/>
                <a:gd name="connsiteY115" fmla="*/ 8540477 h 10394676"/>
                <a:gd name="connsiteX116" fmla="*/ 6251001 w 10375356"/>
                <a:gd name="connsiteY116" fmla="*/ 8539813 h 10394676"/>
                <a:gd name="connsiteX117" fmla="*/ 6413573 w 10375356"/>
                <a:gd name="connsiteY117" fmla="*/ 8484804 h 10394676"/>
                <a:gd name="connsiteX118" fmla="*/ 2066673 w 10375356"/>
                <a:gd name="connsiteY118" fmla="*/ 8438567 h 10394676"/>
                <a:gd name="connsiteX119" fmla="*/ 2577496 w 10375356"/>
                <a:gd name="connsiteY119" fmla="*/ 8438567 h 10394676"/>
                <a:gd name="connsiteX120" fmla="*/ 2577496 w 10375356"/>
                <a:gd name="connsiteY120" fmla="*/ 8540477 h 10394676"/>
                <a:gd name="connsiteX121" fmla="*/ 2066673 w 10375356"/>
                <a:gd name="connsiteY121" fmla="*/ 8540477 h 10394676"/>
                <a:gd name="connsiteX122" fmla="*/ 1234837 w 10375356"/>
                <a:gd name="connsiteY122" fmla="*/ 8438567 h 10394676"/>
                <a:gd name="connsiteX123" fmla="*/ 1745660 w 10375356"/>
                <a:gd name="connsiteY123" fmla="*/ 8438567 h 10394676"/>
                <a:gd name="connsiteX124" fmla="*/ 1745660 w 10375356"/>
                <a:gd name="connsiteY124" fmla="*/ 8540477 h 10394676"/>
                <a:gd name="connsiteX125" fmla="*/ 1234837 w 10375356"/>
                <a:gd name="connsiteY125" fmla="*/ 8540477 h 10394676"/>
                <a:gd name="connsiteX126" fmla="*/ 8870376 w 10375356"/>
                <a:gd name="connsiteY126" fmla="*/ 8234747 h 10394676"/>
                <a:gd name="connsiteX127" fmla="*/ 8972285 w 10375356"/>
                <a:gd name="connsiteY127" fmla="*/ 8234747 h 10394676"/>
                <a:gd name="connsiteX128" fmla="*/ 8972285 w 10375356"/>
                <a:gd name="connsiteY128" fmla="*/ 8745569 h 10394676"/>
                <a:gd name="connsiteX129" fmla="*/ 8870376 w 10375356"/>
                <a:gd name="connsiteY129" fmla="*/ 8745569 h 10394676"/>
                <a:gd name="connsiteX130" fmla="*/ 8046180 w 10375356"/>
                <a:gd name="connsiteY130" fmla="*/ 8234747 h 10394676"/>
                <a:gd name="connsiteX131" fmla="*/ 8148089 w 10375356"/>
                <a:gd name="connsiteY131" fmla="*/ 8234747 h 10394676"/>
                <a:gd name="connsiteX132" fmla="*/ 8148089 w 10375356"/>
                <a:gd name="connsiteY132" fmla="*/ 8745569 h 10394676"/>
                <a:gd name="connsiteX133" fmla="*/ 8046180 w 10375356"/>
                <a:gd name="connsiteY133" fmla="*/ 8745569 h 10394676"/>
                <a:gd name="connsiteX134" fmla="*/ 3094685 w 10375356"/>
                <a:gd name="connsiteY134" fmla="*/ 8234747 h 10394676"/>
                <a:gd name="connsiteX135" fmla="*/ 3196595 w 10375356"/>
                <a:gd name="connsiteY135" fmla="*/ 8234747 h 10394676"/>
                <a:gd name="connsiteX136" fmla="*/ 3196595 w 10375356"/>
                <a:gd name="connsiteY136" fmla="*/ 8745569 h 10394676"/>
                <a:gd name="connsiteX137" fmla="*/ 3094685 w 10375356"/>
                <a:gd name="connsiteY137" fmla="*/ 8745569 h 10394676"/>
                <a:gd name="connsiteX138" fmla="*/ 9489477 w 10375356"/>
                <a:gd name="connsiteY138" fmla="*/ 7615645 h 10394676"/>
                <a:gd name="connsiteX139" fmla="*/ 9824110 w 10375356"/>
                <a:gd name="connsiteY139" fmla="*/ 7615645 h 10394676"/>
                <a:gd name="connsiteX140" fmla="*/ 9792198 w 10375356"/>
                <a:gd name="connsiteY140" fmla="*/ 7681890 h 10394676"/>
                <a:gd name="connsiteX141" fmla="*/ 9770531 w 10375356"/>
                <a:gd name="connsiteY141" fmla="*/ 7717555 h 10394676"/>
                <a:gd name="connsiteX142" fmla="*/ 9489477 w 10375356"/>
                <a:gd name="connsiteY142" fmla="*/ 7717555 h 10394676"/>
                <a:gd name="connsiteX143" fmla="*/ 8666557 w 10375356"/>
                <a:gd name="connsiteY143" fmla="*/ 7615645 h 10394676"/>
                <a:gd name="connsiteX144" fmla="*/ 9177379 w 10375356"/>
                <a:gd name="connsiteY144" fmla="*/ 7615645 h 10394676"/>
                <a:gd name="connsiteX145" fmla="*/ 9177379 w 10375356"/>
                <a:gd name="connsiteY145" fmla="*/ 7717555 h 10394676"/>
                <a:gd name="connsiteX146" fmla="*/ 8666557 w 10375356"/>
                <a:gd name="connsiteY146" fmla="*/ 7717555 h 10394676"/>
                <a:gd name="connsiteX147" fmla="*/ 2322721 w 10375356"/>
                <a:gd name="connsiteY147" fmla="*/ 7503545 h 10394676"/>
                <a:gd name="connsiteX148" fmla="*/ 2159665 w 10375356"/>
                <a:gd name="connsiteY148" fmla="*/ 7666599 h 10394676"/>
                <a:gd name="connsiteX149" fmla="*/ 2322721 w 10375356"/>
                <a:gd name="connsiteY149" fmla="*/ 7829655 h 10394676"/>
                <a:gd name="connsiteX150" fmla="*/ 2485776 w 10375356"/>
                <a:gd name="connsiteY150" fmla="*/ 7666599 h 10394676"/>
                <a:gd name="connsiteX151" fmla="*/ 2322721 w 10375356"/>
                <a:gd name="connsiteY151" fmla="*/ 7503545 h 10394676"/>
                <a:gd name="connsiteX152" fmla="*/ 8046180 w 10375356"/>
                <a:gd name="connsiteY152" fmla="*/ 7410553 h 10394676"/>
                <a:gd name="connsiteX153" fmla="*/ 8148089 w 10375356"/>
                <a:gd name="connsiteY153" fmla="*/ 7410553 h 10394676"/>
                <a:gd name="connsiteX154" fmla="*/ 8148089 w 10375356"/>
                <a:gd name="connsiteY154" fmla="*/ 7921375 h 10394676"/>
                <a:gd name="connsiteX155" fmla="*/ 8046180 w 10375356"/>
                <a:gd name="connsiteY155" fmla="*/ 7921375 h 10394676"/>
                <a:gd name="connsiteX156" fmla="*/ 1447573 w 10375356"/>
                <a:gd name="connsiteY156" fmla="*/ 7410553 h 10394676"/>
                <a:gd name="connsiteX157" fmla="*/ 1549483 w 10375356"/>
                <a:gd name="connsiteY157" fmla="*/ 7410553 h 10394676"/>
                <a:gd name="connsiteX158" fmla="*/ 1549483 w 10375356"/>
                <a:gd name="connsiteY158" fmla="*/ 7921375 h 10394676"/>
                <a:gd name="connsiteX159" fmla="*/ 1447573 w 10375356"/>
                <a:gd name="connsiteY159" fmla="*/ 7921375 h 10394676"/>
                <a:gd name="connsiteX160" fmla="*/ 2322721 w 10375356"/>
                <a:gd name="connsiteY160" fmla="*/ 7401633 h 10394676"/>
                <a:gd name="connsiteX161" fmla="*/ 2587686 w 10375356"/>
                <a:gd name="connsiteY161" fmla="*/ 7666599 h 10394676"/>
                <a:gd name="connsiteX162" fmla="*/ 2322721 w 10375356"/>
                <a:gd name="connsiteY162" fmla="*/ 7931565 h 10394676"/>
                <a:gd name="connsiteX163" fmla="*/ 2057755 w 10375356"/>
                <a:gd name="connsiteY163" fmla="*/ 7666599 h 10394676"/>
                <a:gd name="connsiteX164" fmla="*/ 2322721 w 10375356"/>
                <a:gd name="connsiteY164" fmla="*/ 7401633 h 10394676"/>
                <a:gd name="connsiteX165" fmla="*/ 674333 w 10375356"/>
                <a:gd name="connsiteY165" fmla="*/ 7401633 h 10394676"/>
                <a:gd name="connsiteX166" fmla="*/ 939299 w 10375356"/>
                <a:gd name="connsiteY166" fmla="*/ 7666599 h 10394676"/>
                <a:gd name="connsiteX167" fmla="*/ 777537 w 10375356"/>
                <a:gd name="connsiteY167" fmla="*/ 7910765 h 10394676"/>
                <a:gd name="connsiteX168" fmla="*/ 769452 w 10375356"/>
                <a:gd name="connsiteY168" fmla="*/ 7913271 h 10394676"/>
                <a:gd name="connsiteX169" fmla="*/ 713980 w 10375356"/>
                <a:gd name="connsiteY169" fmla="*/ 7821961 h 10394676"/>
                <a:gd name="connsiteX170" fmla="*/ 739241 w 10375356"/>
                <a:gd name="connsiteY170" fmla="*/ 7816897 h 10394676"/>
                <a:gd name="connsiteX171" fmla="*/ 838662 w 10375356"/>
                <a:gd name="connsiteY171" fmla="*/ 7666599 h 10394676"/>
                <a:gd name="connsiteX172" fmla="*/ 675607 w 10375356"/>
                <a:gd name="connsiteY172" fmla="*/ 7503545 h 10394676"/>
                <a:gd name="connsiteX173" fmla="*/ 611973 w 10375356"/>
                <a:gd name="connsiteY173" fmla="*/ 7516304 h 10394676"/>
                <a:gd name="connsiteX174" fmla="*/ 564501 w 10375356"/>
                <a:gd name="connsiteY174" fmla="*/ 7548238 h 10394676"/>
                <a:gd name="connsiteX175" fmla="*/ 518632 w 10375356"/>
                <a:gd name="connsiteY175" fmla="*/ 7453019 h 10394676"/>
                <a:gd name="connsiteX176" fmla="*/ 526119 w 10375356"/>
                <a:gd name="connsiteY176" fmla="*/ 7446844 h 10394676"/>
                <a:gd name="connsiteX177" fmla="*/ 674333 w 10375356"/>
                <a:gd name="connsiteY177" fmla="*/ 7401633 h 10394676"/>
                <a:gd name="connsiteX178" fmla="*/ 8148089 w 10375356"/>
                <a:gd name="connsiteY178" fmla="*/ 7094869 h 10394676"/>
                <a:gd name="connsiteX179" fmla="*/ 8148089 w 10375356"/>
                <a:gd name="connsiteY179" fmla="*/ 7097179 h 10394676"/>
                <a:gd name="connsiteX180" fmla="*/ 8146686 w 10375356"/>
                <a:gd name="connsiteY180" fmla="*/ 7097179 h 10394676"/>
                <a:gd name="connsiteX181" fmla="*/ 8665281 w 10375356"/>
                <a:gd name="connsiteY181" fmla="*/ 6791449 h 10394676"/>
                <a:gd name="connsiteX182" fmla="*/ 9176104 w 10375356"/>
                <a:gd name="connsiteY182" fmla="*/ 6791449 h 10394676"/>
                <a:gd name="connsiteX183" fmla="*/ 9176104 w 10375356"/>
                <a:gd name="connsiteY183" fmla="*/ 6893357 h 10394676"/>
                <a:gd name="connsiteX184" fmla="*/ 8665281 w 10375356"/>
                <a:gd name="connsiteY184" fmla="*/ 6893357 h 10394676"/>
                <a:gd name="connsiteX185" fmla="*/ 2066681 w 10375356"/>
                <a:gd name="connsiteY185" fmla="*/ 6791449 h 10394676"/>
                <a:gd name="connsiteX186" fmla="*/ 2098040 w 10375356"/>
                <a:gd name="connsiteY186" fmla="*/ 6791449 h 10394676"/>
                <a:gd name="connsiteX187" fmla="*/ 2133958 w 10375356"/>
                <a:gd name="connsiteY187" fmla="*/ 6866010 h 10394676"/>
                <a:gd name="connsiteX188" fmla="*/ 2150572 w 10375356"/>
                <a:gd name="connsiteY188" fmla="*/ 6893357 h 10394676"/>
                <a:gd name="connsiteX189" fmla="*/ 2066681 w 10375356"/>
                <a:gd name="connsiteY189" fmla="*/ 6893357 h 10394676"/>
                <a:gd name="connsiteX190" fmla="*/ 419562 w 10375356"/>
                <a:gd name="connsiteY190" fmla="*/ 6791449 h 10394676"/>
                <a:gd name="connsiteX191" fmla="*/ 930385 w 10375356"/>
                <a:gd name="connsiteY191" fmla="*/ 6791449 h 10394676"/>
                <a:gd name="connsiteX192" fmla="*/ 930385 w 10375356"/>
                <a:gd name="connsiteY192" fmla="*/ 6893357 h 10394676"/>
                <a:gd name="connsiteX193" fmla="*/ 419562 w 10375356"/>
                <a:gd name="connsiteY193" fmla="*/ 6893357 h 10394676"/>
                <a:gd name="connsiteX194" fmla="*/ 9745526 w 10375356"/>
                <a:gd name="connsiteY194" fmla="*/ 6679349 h 10394676"/>
                <a:gd name="connsiteX195" fmla="*/ 9582469 w 10375356"/>
                <a:gd name="connsiteY195" fmla="*/ 6842405 h 10394676"/>
                <a:gd name="connsiteX196" fmla="*/ 9745526 w 10375356"/>
                <a:gd name="connsiteY196" fmla="*/ 7005461 h 10394676"/>
                <a:gd name="connsiteX197" fmla="*/ 9908582 w 10375356"/>
                <a:gd name="connsiteY197" fmla="*/ 6842405 h 10394676"/>
                <a:gd name="connsiteX198" fmla="*/ 9745526 w 10375356"/>
                <a:gd name="connsiteY198" fmla="*/ 6679349 h 10394676"/>
                <a:gd name="connsiteX199" fmla="*/ 1498533 w 10375356"/>
                <a:gd name="connsiteY199" fmla="*/ 6679349 h 10394676"/>
                <a:gd name="connsiteX200" fmla="*/ 1335477 w 10375356"/>
                <a:gd name="connsiteY200" fmla="*/ 6842405 h 10394676"/>
                <a:gd name="connsiteX201" fmla="*/ 1498533 w 10375356"/>
                <a:gd name="connsiteY201" fmla="*/ 7005461 h 10394676"/>
                <a:gd name="connsiteX202" fmla="*/ 1661588 w 10375356"/>
                <a:gd name="connsiteY202" fmla="*/ 6842405 h 10394676"/>
                <a:gd name="connsiteX203" fmla="*/ 1498533 w 10375356"/>
                <a:gd name="connsiteY203" fmla="*/ 6679349 h 10394676"/>
                <a:gd name="connsiteX204" fmla="*/ 9744252 w 10375356"/>
                <a:gd name="connsiteY204" fmla="*/ 6577439 h 10394676"/>
                <a:gd name="connsiteX205" fmla="*/ 10009217 w 10375356"/>
                <a:gd name="connsiteY205" fmla="*/ 6842405 h 10394676"/>
                <a:gd name="connsiteX206" fmla="*/ 9744252 w 10375356"/>
                <a:gd name="connsiteY206" fmla="*/ 7107369 h 10394676"/>
                <a:gd name="connsiteX207" fmla="*/ 9479286 w 10375356"/>
                <a:gd name="connsiteY207" fmla="*/ 6842405 h 10394676"/>
                <a:gd name="connsiteX208" fmla="*/ 9744252 w 10375356"/>
                <a:gd name="connsiteY208" fmla="*/ 6577439 h 10394676"/>
                <a:gd name="connsiteX209" fmla="*/ 1499807 w 10375356"/>
                <a:gd name="connsiteY209" fmla="*/ 6577439 h 10394676"/>
                <a:gd name="connsiteX210" fmla="*/ 1764771 w 10375356"/>
                <a:gd name="connsiteY210" fmla="*/ 6842405 h 10394676"/>
                <a:gd name="connsiteX211" fmla="*/ 1499807 w 10375356"/>
                <a:gd name="connsiteY211" fmla="*/ 7107369 h 10394676"/>
                <a:gd name="connsiteX212" fmla="*/ 1234841 w 10375356"/>
                <a:gd name="connsiteY212" fmla="*/ 6842405 h 10394676"/>
                <a:gd name="connsiteX213" fmla="*/ 1499807 w 10375356"/>
                <a:gd name="connsiteY213" fmla="*/ 6577439 h 10394676"/>
                <a:gd name="connsiteX214" fmla="*/ 8921331 w 10375356"/>
                <a:gd name="connsiteY214" fmla="*/ 5855153 h 10394676"/>
                <a:gd name="connsiteX215" fmla="*/ 8758274 w 10375356"/>
                <a:gd name="connsiteY215" fmla="*/ 6018209 h 10394676"/>
                <a:gd name="connsiteX216" fmla="*/ 8921331 w 10375356"/>
                <a:gd name="connsiteY216" fmla="*/ 6181265 h 10394676"/>
                <a:gd name="connsiteX217" fmla="*/ 9084385 w 10375356"/>
                <a:gd name="connsiteY217" fmla="*/ 6018209 h 10394676"/>
                <a:gd name="connsiteX218" fmla="*/ 8921331 w 10375356"/>
                <a:gd name="connsiteY218" fmla="*/ 5855153 h 10394676"/>
                <a:gd name="connsiteX219" fmla="*/ 674337 w 10375356"/>
                <a:gd name="connsiteY219" fmla="*/ 5855153 h 10394676"/>
                <a:gd name="connsiteX220" fmla="*/ 511282 w 10375356"/>
                <a:gd name="connsiteY220" fmla="*/ 6018209 h 10394676"/>
                <a:gd name="connsiteX221" fmla="*/ 674337 w 10375356"/>
                <a:gd name="connsiteY221" fmla="*/ 6181265 h 10394676"/>
                <a:gd name="connsiteX222" fmla="*/ 837393 w 10375356"/>
                <a:gd name="connsiteY222" fmla="*/ 6018209 h 10394676"/>
                <a:gd name="connsiteX223" fmla="*/ 674337 w 10375356"/>
                <a:gd name="connsiteY223" fmla="*/ 5855153 h 10394676"/>
                <a:gd name="connsiteX224" fmla="*/ 10375356 w 10375356"/>
                <a:gd name="connsiteY224" fmla="*/ 5854333 h 10394676"/>
                <a:gd name="connsiteX225" fmla="*/ 10334572 w 10375356"/>
                <a:gd name="connsiteY225" fmla="*/ 6121561 h 10394676"/>
                <a:gd name="connsiteX226" fmla="*/ 10334472 w 10375356"/>
                <a:gd name="connsiteY226" fmla="*/ 6121413 h 10394676"/>
                <a:gd name="connsiteX227" fmla="*/ 10313672 w 10375356"/>
                <a:gd name="connsiteY227" fmla="*/ 6018209 h 10394676"/>
                <a:gd name="connsiteX228" fmla="*/ 10334472 w 10375356"/>
                <a:gd name="connsiteY228" fmla="*/ 5915005 h 10394676"/>
                <a:gd name="connsiteX229" fmla="*/ 9694571 w 10375356"/>
                <a:gd name="connsiteY229" fmla="*/ 5763433 h 10394676"/>
                <a:gd name="connsiteX230" fmla="*/ 9796481 w 10375356"/>
                <a:gd name="connsiteY230" fmla="*/ 5763433 h 10394676"/>
                <a:gd name="connsiteX231" fmla="*/ 9796481 w 10375356"/>
                <a:gd name="connsiteY231" fmla="*/ 6274257 h 10394676"/>
                <a:gd name="connsiteX232" fmla="*/ 9694571 w 10375356"/>
                <a:gd name="connsiteY232" fmla="*/ 6274257 h 10394676"/>
                <a:gd name="connsiteX233" fmla="*/ 1447575 w 10375356"/>
                <a:gd name="connsiteY233" fmla="*/ 5763433 h 10394676"/>
                <a:gd name="connsiteX234" fmla="*/ 1549485 w 10375356"/>
                <a:gd name="connsiteY234" fmla="*/ 5763433 h 10394676"/>
                <a:gd name="connsiteX235" fmla="*/ 1549485 w 10375356"/>
                <a:gd name="connsiteY235" fmla="*/ 6274257 h 10394676"/>
                <a:gd name="connsiteX236" fmla="*/ 1447575 w 10375356"/>
                <a:gd name="connsiteY236" fmla="*/ 6274257 h 10394676"/>
                <a:gd name="connsiteX237" fmla="*/ 8922604 w 10375356"/>
                <a:gd name="connsiteY237" fmla="*/ 5753243 h 10394676"/>
                <a:gd name="connsiteX238" fmla="*/ 9187569 w 10375356"/>
                <a:gd name="connsiteY238" fmla="*/ 6018209 h 10394676"/>
                <a:gd name="connsiteX239" fmla="*/ 8922604 w 10375356"/>
                <a:gd name="connsiteY239" fmla="*/ 6283173 h 10394676"/>
                <a:gd name="connsiteX240" fmla="*/ 8657638 w 10375356"/>
                <a:gd name="connsiteY240" fmla="*/ 6018209 h 10394676"/>
                <a:gd name="connsiteX241" fmla="*/ 8922604 w 10375356"/>
                <a:gd name="connsiteY241" fmla="*/ 5753243 h 10394676"/>
                <a:gd name="connsiteX242" fmla="*/ 675610 w 10375356"/>
                <a:gd name="connsiteY242" fmla="*/ 5753243 h 10394676"/>
                <a:gd name="connsiteX243" fmla="*/ 940577 w 10375356"/>
                <a:gd name="connsiteY243" fmla="*/ 6018209 h 10394676"/>
                <a:gd name="connsiteX244" fmla="*/ 675610 w 10375356"/>
                <a:gd name="connsiteY244" fmla="*/ 6283173 h 10394676"/>
                <a:gd name="connsiteX245" fmla="*/ 410646 w 10375356"/>
                <a:gd name="connsiteY245" fmla="*/ 6018209 h 10394676"/>
                <a:gd name="connsiteX246" fmla="*/ 675610 w 10375356"/>
                <a:gd name="connsiteY246" fmla="*/ 5753243 h 10394676"/>
                <a:gd name="connsiteX247" fmla="*/ 9489477 w 10375356"/>
                <a:gd name="connsiteY247" fmla="*/ 5143057 h 10394676"/>
                <a:gd name="connsiteX248" fmla="*/ 10000300 w 10375356"/>
                <a:gd name="connsiteY248" fmla="*/ 5143057 h 10394676"/>
                <a:gd name="connsiteX249" fmla="*/ 10000300 w 10375356"/>
                <a:gd name="connsiteY249" fmla="*/ 5244969 h 10394676"/>
                <a:gd name="connsiteX250" fmla="*/ 9489477 w 10375356"/>
                <a:gd name="connsiteY250" fmla="*/ 5244969 h 10394676"/>
                <a:gd name="connsiteX251" fmla="*/ 8706634 w 10375356"/>
                <a:gd name="connsiteY251" fmla="*/ 5143057 h 10394676"/>
                <a:gd name="connsiteX252" fmla="*/ 9176104 w 10375356"/>
                <a:gd name="connsiteY252" fmla="*/ 5143057 h 10394676"/>
                <a:gd name="connsiteX253" fmla="*/ 9176104 w 10375356"/>
                <a:gd name="connsiteY253" fmla="*/ 5244969 h 10394676"/>
                <a:gd name="connsiteX254" fmla="*/ 8707060 w 10375356"/>
                <a:gd name="connsiteY254" fmla="*/ 5244969 h 10394676"/>
                <a:gd name="connsiteX255" fmla="*/ 8709420 w 10375356"/>
                <a:gd name="connsiteY255" fmla="*/ 5198237 h 10394676"/>
                <a:gd name="connsiteX256" fmla="*/ 1242485 w 10375356"/>
                <a:gd name="connsiteY256" fmla="*/ 5143057 h 10394676"/>
                <a:gd name="connsiteX257" fmla="*/ 1714449 w 10375356"/>
                <a:gd name="connsiteY257" fmla="*/ 5143057 h 10394676"/>
                <a:gd name="connsiteX258" fmla="*/ 1711662 w 10375356"/>
                <a:gd name="connsiteY258" fmla="*/ 5198237 h 10394676"/>
                <a:gd name="connsiteX259" fmla="*/ 1714022 w 10375356"/>
                <a:gd name="connsiteY259" fmla="*/ 5244969 h 10394676"/>
                <a:gd name="connsiteX260" fmla="*/ 1242485 w 10375356"/>
                <a:gd name="connsiteY260" fmla="*/ 5244969 h 10394676"/>
                <a:gd name="connsiteX261" fmla="*/ 2787 w 10375356"/>
                <a:gd name="connsiteY261" fmla="*/ 5143057 h 10394676"/>
                <a:gd name="connsiteX262" fmla="*/ 97302 w 10375356"/>
                <a:gd name="connsiteY262" fmla="*/ 5143057 h 10394676"/>
                <a:gd name="connsiteX263" fmla="*/ 97302 w 10375356"/>
                <a:gd name="connsiteY263" fmla="*/ 5244969 h 10394676"/>
                <a:gd name="connsiteX264" fmla="*/ 2360 w 10375356"/>
                <a:gd name="connsiteY264" fmla="*/ 5244969 h 10394676"/>
                <a:gd name="connsiteX265" fmla="*/ 0 w 10375356"/>
                <a:gd name="connsiteY265" fmla="*/ 5198237 h 10394676"/>
                <a:gd name="connsiteX266" fmla="*/ 623389 w 10375356"/>
                <a:gd name="connsiteY266" fmla="*/ 4939239 h 10394676"/>
                <a:gd name="connsiteX267" fmla="*/ 725299 w 10375356"/>
                <a:gd name="connsiteY267" fmla="*/ 4939239 h 10394676"/>
                <a:gd name="connsiteX268" fmla="*/ 725299 w 10375356"/>
                <a:gd name="connsiteY268" fmla="*/ 5450061 h 10394676"/>
                <a:gd name="connsiteX269" fmla="*/ 623389 w 10375356"/>
                <a:gd name="connsiteY269" fmla="*/ 5450061 h 10394676"/>
                <a:gd name="connsiteX270" fmla="*/ 86723 w 10375356"/>
                <a:gd name="connsiteY270" fmla="*/ 4273524 h 10394676"/>
                <a:gd name="connsiteX271" fmla="*/ 106218 w 10375356"/>
                <a:gd name="connsiteY271" fmla="*/ 4371093 h 10394676"/>
                <a:gd name="connsiteX272" fmla="*/ 85418 w 10375356"/>
                <a:gd name="connsiteY272" fmla="*/ 4474296 h 10394676"/>
                <a:gd name="connsiteX273" fmla="*/ 47492 w 10375356"/>
                <a:gd name="connsiteY273" fmla="*/ 4530579 h 10394676"/>
                <a:gd name="connsiteX274" fmla="*/ 9745526 w 10375356"/>
                <a:gd name="connsiteY274" fmla="*/ 4208037 h 10394676"/>
                <a:gd name="connsiteX275" fmla="*/ 9582469 w 10375356"/>
                <a:gd name="connsiteY275" fmla="*/ 4371093 h 10394676"/>
                <a:gd name="connsiteX276" fmla="*/ 9745526 w 10375356"/>
                <a:gd name="connsiteY276" fmla="*/ 4534147 h 10394676"/>
                <a:gd name="connsiteX277" fmla="*/ 9908582 w 10375356"/>
                <a:gd name="connsiteY277" fmla="*/ 4371093 h 10394676"/>
                <a:gd name="connsiteX278" fmla="*/ 9745526 w 10375356"/>
                <a:gd name="connsiteY278" fmla="*/ 4208037 h 10394676"/>
                <a:gd name="connsiteX279" fmla="*/ 1498539 w 10375356"/>
                <a:gd name="connsiteY279" fmla="*/ 4208037 h 10394676"/>
                <a:gd name="connsiteX280" fmla="*/ 1335482 w 10375356"/>
                <a:gd name="connsiteY280" fmla="*/ 4371093 h 10394676"/>
                <a:gd name="connsiteX281" fmla="*/ 1498539 w 10375356"/>
                <a:gd name="connsiteY281" fmla="*/ 4534147 h 10394676"/>
                <a:gd name="connsiteX282" fmla="*/ 1661593 w 10375356"/>
                <a:gd name="connsiteY282" fmla="*/ 4371093 h 10394676"/>
                <a:gd name="connsiteX283" fmla="*/ 1498539 w 10375356"/>
                <a:gd name="connsiteY283" fmla="*/ 4208037 h 10394676"/>
                <a:gd name="connsiteX284" fmla="*/ 8870376 w 10375356"/>
                <a:gd name="connsiteY284" fmla="*/ 4115043 h 10394676"/>
                <a:gd name="connsiteX285" fmla="*/ 8972285 w 10375356"/>
                <a:gd name="connsiteY285" fmla="*/ 4115043 h 10394676"/>
                <a:gd name="connsiteX286" fmla="*/ 8972285 w 10375356"/>
                <a:gd name="connsiteY286" fmla="*/ 4625865 h 10394676"/>
                <a:gd name="connsiteX287" fmla="*/ 8870376 w 10375356"/>
                <a:gd name="connsiteY287" fmla="*/ 4625865 h 10394676"/>
                <a:gd name="connsiteX288" fmla="*/ 623387 w 10375356"/>
                <a:gd name="connsiteY288" fmla="*/ 4115043 h 10394676"/>
                <a:gd name="connsiteX289" fmla="*/ 725297 w 10375356"/>
                <a:gd name="connsiteY289" fmla="*/ 4115043 h 10394676"/>
                <a:gd name="connsiteX290" fmla="*/ 725297 w 10375356"/>
                <a:gd name="connsiteY290" fmla="*/ 4625865 h 10394676"/>
                <a:gd name="connsiteX291" fmla="*/ 623387 w 10375356"/>
                <a:gd name="connsiteY291" fmla="*/ 4625865 h 10394676"/>
                <a:gd name="connsiteX292" fmla="*/ 9744252 w 10375356"/>
                <a:gd name="connsiteY292" fmla="*/ 4106125 h 10394676"/>
                <a:gd name="connsiteX293" fmla="*/ 10009217 w 10375356"/>
                <a:gd name="connsiteY293" fmla="*/ 4371093 h 10394676"/>
                <a:gd name="connsiteX294" fmla="*/ 9744252 w 10375356"/>
                <a:gd name="connsiteY294" fmla="*/ 4636057 h 10394676"/>
                <a:gd name="connsiteX295" fmla="*/ 9479286 w 10375356"/>
                <a:gd name="connsiteY295" fmla="*/ 4371093 h 10394676"/>
                <a:gd name="connsiteX296" fmla="*/ 9744252 w 10375356"/>
                <a:gd name="connsiteY296" fmla="*/ 4106125 h 10394676"/>
                <a:gd name="connsiteX297" fmla="*/ 1499812 w 10375356"/>
                <a:gd name="connsiteY297" fmla="*/ 4106125 h 10394676"/>
                <a:gd name="connsiteX298" fmla="*/ 1764778 w 10375356"/>
                <a:gd name="connsiteY298" fmla="*/ 4371093 h 10394676"/>
                <a:gd name="connsiteX299" fmla="*/ 1499812 w 10375356"/>
                <a:gd name="connsiteY299" fmla="*/ 4636057 h 10394676"/>
                <a:gd name="connsiteX300" fmla="*/ 1234846 w 10375356"/>
                <a:gd name="connsiteY300" fmla="*/ 4371093 h 10394676"/>
                <a:gd name="connsiteX301" fmla="*/ 1499812 w 10375356"/>
                <a:gd name="connsiteY301" fmla="*/ 4106125 h 10394676"/>
                <a:gd name="connsiteX302" fmla="*/ 9489477 w 10375356"/>
                <a:gd name="connsiteY302" fmla="*/ 3495941 h 10394676"/>
                <a:gd name="connsiteX303" fmla="*/ 10000300 w 10375356"/>
                <a:gd name="connsiteY303" fmla="*/ 3495941 h 10394676"/>
                <a:gd name="connsiteX304" fmla="*/ 10000300 w 10375356"/>
                <a:gd name="connsiteY304" fmla="*/ 3597851 h 10394676"/>
                <a:gd name="connsiteX305" fmla="*/ 9489477 w 10375356"/>
                <a:gd name="connsiteY305" fmla="*/ 3597851 h 10394676"/>
                <a:gd name="connsiteX306" fmla="*/ 2066685 w 10375356"/>
                <a:gd name="connsiteY306" fmla="*/ 3495941 h 10394676"/>
                <a:gd name="connsiteX307" fmla="*/ 2154931 w 10375356"/>
                <a:gd name="connsiteY307" fmla="*/ 3495941 h 10394676"/>
                <a:gd name="connsiteX308" fmla="*/ 2133958 w 10375356"/>
                <a:gd name="connsiteY308" fmla="*/ 3530464 h 10394676"/>
                <a:gd name="connsiteX309" fmla="*/ 2101496 w 10375356"/>
                <a:gd name="connsiteY309" fmla="*/ 3597851 h 10394676"/>
                <a:gd name="connsiteX310" fmla="*/ 2066685 w 10375356"/>
                <a:gd name="connsiteY310" fmla="*/ 3597851 h 10394676"/>
                <a:gd name="connsiteX311" fmla="*/ 674343 w 10375356"/>
                <a:gd name="connsiteY311" fmla="*/ 3383841 h 10394676"/>
                <a:gd name="connsiteX312" fmla="*/ 511289 w 10375356"/>
                <a:gd name="connsiteY312" fmla="*/ 3546897 h 10394676"/>
                <a:gd name="connsiteX313" fmla="*/ 674343 w 10375356"/>
                <a:gd name="connsiteY313" fmla="*/ 3709953 h 10394676"/>
                <a:gd name="connsiteX314" fmla="*/ 837399 w 10375356"/>
                <a:gd name="connsiteY314" fmla="*/ 3546897 h 10394676"/>
                <a:gd name="connsiteX315" fmla="*/ 674343 w 10375356"/>
                <a:gd name="connsiteY315" fmla="*/ 3383841 h 10394676"/>
                <a:gd name="connsiteX316" fmla="*/ 8870376 w 10375356"/>
                <a:gd name="connsiteY316" fmla="*/ 3292121 h 10394676"/>
                <a:gd name="connsiteX317" fmla="*/ 8972285 w 10375356"/>
                <a:gd name="connsiteY317" fmla="*/ 3292121 h 10394676"/>
                <a:gd name="connsiteX318" fmla="*/ 8972285 w 10375356"/>
                <a:gd name="connsiteY318" fmla="*/ 3802945 h 10394676"/>
                <a:gd name="connsiteX319" fmla="*/ 8870376 w 10375356"/>
                <a:gd name="connsiteY319" fmla="*/ 3802945 h 10394676"/>
                <a:gd name="connsiteX320" fmla="*/ 8142327 w 10375356"/>
                <a:gd name="connsiteY320" fmla="*/ 3292121 h 10394676"/>
                <a:gd name="connsiteX321" fmla="*/ 8148089 w 10375356"/>
                <a:gd name="connsiteY321" fmla="*/ 3292121 h 10394676"/>
                <a:gd name="connsiteX322" fmla="*/ 8148089 w 10375356"/>
                <a:gd name="connsiteY322" fmla="*/ 3301606 h 10394676"/>
                <a:gd name="connsiteX323" fmla="*/ 1447583 w 10375356"/>
                <a:gd name="connsiteY323" fmla="*/ 3292121 h 10394676"/>
                <a:gd name="connsiteX324" fmla="*/ 1549493 w 10375356"/>
                <a:gd name="connsiteY324" fmla="*/ 3292121 h 10394676"/>
                <a:gd name="connsiteX325" fmla="*/ 1549493 w 10375356"/>
                <a:gd name="connsiteY325" fmla="*/ 3802945 h 10394676"/>
                <a:gd name="connsiteX326" fmla="*/ 1447583 w 10375356"/>
                <a:gd name="connsiteY326" fmla="*/ 3802945 h 10394676"/>
                <a:gd name="connsiteX327" fmla="*/ 675617 w 10375356"/>
                <a:gd name="connsiteY327" fmla="*/ 3281931 h 10394676"/>
                <a:gd name="connsiteX328" fmla="*/ 940583 w 10375356"/>
                <a:gd name="connsiteY328" fmla="*/ 3546897 h 10394676"/>
                <a:gd name="connsiteX329" fmla="*/ 675617 w 10375356"/>
                <a:gd name="connsiteY329" fmla="*/ 3811861 h 10394676"/>
                <a:gd name="connsiteX330" fmla="*/ 410652 w 10375356"/>
                <a:gd name="connsiteY330" fmla="*/ 3546897 h 10394676"/>
                <a:gd name="connsiteX331" fmla="*/ 675617 w 10375356"/>
                <a:gd name="connsiteY331" fmla="*/ 3281931 h 10394676"/>
                <a:gd name="connsiteX332" fmla="*/ 1242482 w 10375356"/>
                <a:gd name="connsiteY332" fmla="*/ 2671745 h 10394676"/>
                <a:gd name="connsiteX333" fmla="*/ 1753305 w 10375356"/>
                <a:gd name="connsiteY333" fmla="*/ 2671745 h 10394676"/>
                <a:gd name="connsiteX334" fmla="*/ 1753305 w 10375356"/>
                <a:gd name="connsiteY334" fmla="*/ 2773657 h 10394676"/>
                <a:gd name="connsiteX335" fmla="*/ 1242482 w 10375356"/>
                <a:gd name="connsiteY335" fmla="*/ 2773657 h 10394676"/>
                <a:gd name="connsiteX336" fmla="*/ 8921331 w 10375356"/>
                <a:gd name="connsiteY336" fmla="*/ 2560919 h 10394676"/>
                <a:gd name="connsiteX337" fmla="*/ 8758275 w 10375356"/>
                <a:gd name="connsiteY337" fmla="*/ 2723975 h 10394676"/>
                <a:gd name="connsiteX338" fmla="*/ 8921331 w 10375356"/>
                <a:gd name="connsiteY338" fmla="*/ 2887029 h 10394676"/>
                <a:gd name="connsiteX339" fmla="*/ 9084386 w 10375356"/>
                <a:gd name="connsiteY339" fmla="*/ 2723975 h 10394676"/>
                <a:gd name="connsiteX340" fmla="*/ 8921331 w 10375356"/>
                <a:gd name="connsiteY340" fmla="*/ 2560919 h 10394676"/>
                <a:gd name="connsiteX341" fmla="*/ 2322726 w 10375356"/>
                <a:gd name="connsiteY341" fmla="*/ 2560919 h 10394676"/>
                <a:gd name="connsiteX342" fmla="*/ 2159671 w 10375356"/>
                <a:gd name="connsiteY342" fmla="*/ 2723975 h 10394676"/>
                <a:gd name="connsiteX343" fmla="*/ 2322726 w 10375356"/>
                <a:gd name="connsiteY343" fmla="*/ 2887029 h 10394676"/>
                <a:gd name="connsiteX344" fmla="*/ 2485782 w 10375356"/>
                <a:gd name="connsiteY344" fmla="*/ 2723975 h 10394676"/>
                <a:gd name="connsiteX345" fmla="*/ 2322726 w 10375356"/>
                <a:gd name="connsiteY345" fmla="*/ 2560919 h 10394676"/>
                <a:gd name="connsiteX346" fmla="*/ 9694571 w 10375356"/>
                <a:gd name="connsiteY346" fmla="*/ 2553886 h 10394676"/>
                <a:gd name="connsiteX347" fmla="*/ 9792198 w 10375356"/>
                <a:gd name="connsiteY347" fmla="*/ 2714584 h 10394676"/>
                <a:gd name="connsiteX348" fmla="*/ 9796481 w 10375356"/>
                <a:gd name="connsiteY348" fmla="*/ 2723476 h 10394676"/>
                <a:gd name="connsiteX349" fmla="*/ 9796481 w 10375356"/>
                <a:gd name="connsiteY349" fmla="*/ 2978749 h 10394676"/>
                <a:gd name="connsiteX350" fmla="*/ 9694571 w 10375356"/>
                <a:gd name="connsiteY350" fmla="*/ 2978749 h 10394676"/>
                <a:gd name="connsiteX351" fmla="*/ 772671 w 10375356"/>
                <a:gd name="connsiteY351" fmla="*/ 2477905 h 10394676"/>
                <a:gd name="connsiteX352" fmla="*/ 778813 w 10375356"/>
                <a:gd name="connsiteY352" fmla="*/ 2479809 h 10394676"/>
                <a:gd name="connsiteX353" fmla="*/ 940575 w 10375356"/>
                <a:gd name="connsiteY353" fmla="*/ 2723975 h 10394676"/>
                <a:gd name="connsiteX354" fmla="*/ 675608 w 10375356"/>
                <a:gd name="connsiteY354" fmla="*/ 2988941 h 10394676"/>
                <a:gd name="connsiteX355" fmla="*/ 527394 w 10375356"/>
                <a:gd name="connsiteY355" fmla="*/ 2942835 h 10394676"/>
                <a:gd name="connsiteX356" fmla="*/ 521341 w 10375356"/>
                <a:gd name="connsiteY356" fmla="*/ 2937832 h 10394676"/>
                <a:gd name="connsiteX357" fmla="*/ 566336 w 10375356"/>
                <a:gd name="connsiteY357" fmla="*/ 2844427 h 10394676"/>
                <a:gd name="connsiteX358" fmla="*/ 610701 w 10375356"/>
                <a:gd name="connsiteY358" fmla="*/ 2874271 h 10394676"/>
                <a:gd name="connsiteX359" fmla="*/ 674334 w 10375356"/>
                <a:gd name="connsiteY359" fmla="*/ 2887029 h 10394676"/>
                <a:gd name="connsiteX360" fmla="*/ 837390 w 10375356"/>
                <a:gd name="connsiteY360" fmla="*/ 2723975 h 10394676"/>
                <a:gd name="connsiteX361" fmla="*/ 737968 w 10375356"/>
                <a:gd name="connsiteY361" fmla="*/ 2573678 h 10394676"/>
                <a:gd name="connsiteX362" fmla="*/ 717037 w 10375356"/>
                <a:gd name="connsiteY362" fmla="*/ 2569481 h 10394676"/>
                <a:gd name="connsiteX363" fmla="*/ 8046180 w 10375356"/>
                <a:gd name="connsiteY363" fmla="*/ 2467925 h 10394676"/>
                <a:gd name="connsiteX364" fmla="*/ 8148089 w 10375356"/>
                <a:gd name="connsiteY364" fmla="*/ 2467925 h 10394676"/>
                <a:gd name="connsiteX365" fmla="*/ 8148089 w 10375356"/>
                <a:gd name="connsiteY365" fmla="*/ 2978749 h 10394676"/>
                <a:gd name="connsiteX366" fmla="*/ 8046180 w 10375356"/>
                <a:gd name="connsiteY366" fmla="*/ 2978749 h 10394676"/>
                <a:gd name="connsiteX367" fmla="*/ 8921331 w 10375356"/>
                <a:gd name="connsiteY367" fmla="*/ 2459009 h 10394676"/>
                <a:gd name="connsiteX368" fmla="*/ 9186296 w 10375356"/>
                <a:gd name="connsiteY368" fmla="*/ 2723975 h 10394676"/>
                <a:gd name="connsiteX369" fmla="*/ 8921331 w 10375356"/>
                <a:gd name="connsiteY369" fmla="*/ 2988941 h 10394676"/>
                <a:gd name="connsiteX370" fmla="*/ 8656365 w 10375356"/>
                <a:gd name="connsiteY370" fmla="*/ 2723975 h 10394676"/>
                <a:gd name="connsiteX371" fmla="*/ 8921331 w 10375356"/>
                <a:gd name="connsiteY371" fmla="*/ 2459009 h 10394676"/>
                <a:gd name="connsiteX372" fmla="*/ 2322726 w 10375356"/>
                <a:gd name="connsiteY372" fmla="*/ 2459009 h 10394676"/>
                <a:gd name="connsiteX373" fmla="*/ 2587692 w 10375356"/>
                <a:gd name="connsiteY373" fmla="*/ 2723975 h 10394676"/>
                <a:gd name="connsiteX374" fmla="*/ 2322726 w 10375356"/>
                <a:gd name="connsiteY374" fmla="*/ 2988941 h 10394676"/>
                <a:gd name="connsiteX375" fmla="*/ 2057761 w 10375356"/>
                <a:gd name="connsiteY375" fmla="*/ 2723975 h 10394676"/>
                <a:gd name="connsiteX376" fmla="*/ 2322726 w 10375356"/>
                <a:gd name="connsiteY376" fmla="*/ 2459009 h 10394676"/>
                <a:gd name="connsiteX377" fmla="*/ 7842360 w 10375356"/>
                <a:gd name="connsiteY377" fmla="*/ 1848825 h 10394676"/>
                <a:gd name="connsiteX378" fmla="*/ 8353182 w 10375356"/>
                <a:gd name="connsiteY378" fmla="*/ 1848825 h 10394676"/>
                <a:gd name="connsiteX379" fmla="*/ 8353182 w 10375356"/>
                <a:gd name="connsiteY379" fmla="*/ 1950733 h 10394676"/>
                <a:gd name="connsiteX380" fmla="*/ 7842360 w 10375356"/>
                <a:gd name="connsiteY380" fmla="*/ 1950733 h 10394676"/>
                <a:gd name="connsiteX381" fmla="*/ 6223404 w 10375356"/>
                <a:gd name="connsiteY381" fmla="*/ 1848825 h 10394676"/>
                <a:gd name="connsiteX382" fmla="*/ 6704792 w 10375356"/>
                <a:gd name="connsiteY382" fmla="*/ 1848825 h 10394676"/>
                <a:gd name="connsiteX383" fmla="*/ 6704792 w 10375356"/>
                <a:gd name="connsiteY383" fmla="*/ 1950733 h 10394676"/>
                <a:gd name="connsiteX384" fmla="*/ 6512646 w 10375356"/>
                <a:gd name="connsiteY384" fmla="*/ 1950733 h 10394676"/>
                <a:gd name="connsiteX385" fmla="*/ 6413573 w 10375356"/>
                <a:gd name="connsiteY385" fmla="*/ 1911670 h 10394676"/>
                <a:gd name="connsiteX386" fmla="*/ 6251001 w 10375356"/>
                <a:gd name="connsiteY386" fmla="*/ 1856662 h 10394676"/>
                <a:gd name="connsiteX387" fmla="*/ 2890884 w 10375356"/>
                <a:gd name="connsiteY387" fmla="*/ 1848825 h 10394676"/>
                <a:gd name="connsiteX388" fmla="*/ 3401707 w 10375356"/>
                <a:gd name="connsiteY388" fmla="*/ 1848825 h 10394676"/>
                <a:gd name="connsiteX389" fmla="*/ 3401707 w 10375356"/>
                <a:gd name="connsiteY389" fmla="*/ 1950733 h 10394676"/>
                <a:gd name="connsiteX390" fmla="*/ 2890884 w 10375356"/>
                <a:gd name="connsiteY390" fmla="*/ 1950733 h 10394676"/>
                <a:gd name="connsiteX391" fmla="*/ 1242493 w 10375356"/>
                <a:gd name="connsiteY391" fmla="*/ 1848825 h 10394676"/>
                <a:gd name="connsiteX392" fmla="*/ 1753316 w 10375356"/>
                <a:gd name="connsiteY392" fmla="*/ 1848825 h 10394676"/>
                <a:gd name="connsiteX393" fmla="*/ 1753316 w 10375356"/>
                <a:gd name="connsiteY393" fmla="*/ 1950733 h 10394676"/>
                <a:gd name="connsiteX394" fmla="*/ 1242493 w 10375356"/>
                <a:gd name="connsiteY394" fmla="*/ 1950733 h 10394676"/>
                <a:gd name="connsiteX395" fmla="*/ 8921331 w 10375356"/>
                <a:gd name="connsiteY395" fmla="*/ 1736725 h 10394676"/>
                <a:gd name="connsiteX396" fmla="*/ 8758275 w 10375356"/>
                <a:gd name="connsiteY396" fmla="*/ 1899781 h 10394676"/>
                <a:gd name="connsiteX397" fmla="*/ 8921331 w 10375356"/>
                <a:gd name="connsiteY397" fmla="*/ 2062835 h 10394676"/>
                <a:gd name="connsiteX398" fmla="*/ 9084386 w 10375356"/>
                <a:gd name="connsiteY398" fmla="*/ 1899781 h 10394676"/>
                <a:gd name="connsiteX399" fmla="*/ 8921331 w 10375356"/>
                <a:gd name="connsiteY399" fmla="*/ 1736725 h 10394676"/>
                <a:gd name="connsiteX400" fmla="*/ 7223258 w 10375356"/>
                <a:gd name="connsiteY400" fmla="*/ 1643731 h 10394676"/>
                <a:gd name="connsiteX401" fmla="*/ 7325168 w 10375356"/>
                <a:gd name="connsiteY401" fmla="*/ 1643731 h 10394676"/>
                <a:gd name="connsiteX402" fmla="*/ 7325168 w 10375356"/>
                <a:gd name="connsiteY402" fmla="*/ 2154553 h 10394676"/>
                <a:gd name="connsiteX403" fmla="*/ 7223258 w 10375356"/>
                <a:gd name="connsiteY403" fmla="*/ 2154553 h 10394676"/>
                <a:gd name="connsiteX404" fmla="*/ 2271782 w 10375356"/>
                <a:gd name="connsiteY404" fmla="*/ 1643731 h 10394676"/>
                <a:gd name="connsiteX405" fmla="*/ 2373691 w 10375356"/>
                <a:gd name="connsiteY405" fmla="*/ 1643731 h 10394676"/>
                <a:gd name="connsiteX406" fmla="*/ 2373691 w 10375356"/>
                <a:gd name="connsiteY406" fmla="*/ 2154553 h 10394676"/>
                <a:gd name="connsiteX407" fmla="*/ 2271782 w 10375356"/>
                <a:gd name="connsiteY407" fmla="*/ 2154553 h 10394676"/>
                <a:gd name="connsiteX408" fmla="*/ 8921331 w 10375356"/>
                <a:gd name="connsiteY408" fmla="*/ 1634813 h 10394676"/>
                <a:gd name="connsiteX409" fmla="*/ 9024534 w 10375356"/>
                <a:gd name="connsiteY409" fmla="*/ 1655614 h 10394676"/>
                <a:gd name="connsiteX410" fmla="*/ 9036119 w 10375356"/>
                <a:gd name="connsiteY410" fmla="*/ 1661896 h 10394676"/>
                <a:gd name="connsiteX411" fmla="*/ 9067478 w 10375356"/>
                <a:gd name="connsiteY411" fmla="*/ 1694788 h 10394676"/>
                <a:gd name="connsiteX412" fmla="*/ 9168482 w 10375356"/>
                <a:gd name="connsiteY412" fmla="*/ 1811390 h 10394676"/>
                <a:gd name="connsiteX413" fmla="*/ 9186296 w 10375356"/>
                <a:gd name="connsiteY413" fmla="*/ 1899781 h 10394676"/>
                <a:gd name="connsiteX414" fmla="*/ 8921331 w 10375356"/>
                <a:gd name="connsiteY414" fmla="*/ 2164745 h 10394676"/>
                <a:gd name="connsiteX415" fmla="*/ 8656365 w 10375356"/>
                <a:gd name="connsiteY415" fmla="*/ 1899781 h 10394676"/>
                <a:gd name="connsiteX416" fmla="*/ 8921331 w 10375356"/>
                <a:gd name="connsiteY416" fmla="*/ 1634813 h 10394676"/>
                <a:gd name="connsiteX417" fmla="*/ 3969851 w 10375356"/>
                <a:gd name="connsiteY417" fmla="*/ 1634813 h 10394676"/>
                <a:gd name="connsiteX418" fmla="*/ 4214017 w 10375356"/>
                <a:gd name="connsiteY418" fmla="*/ 1796577 h 10394676"/>
                <a:gd name="connsiteX419" fmla="*/ 4223093 w 10375356"/>
                <a:gd name="connsiteY419" fmla="*/ 1841608 h 10394676"/>
                <a:gd name="connsiteX420" fmla="*/ 4170081 w 10375356"/>
                <a:gd name="connsiteY420" fmla="*/ 1856662 h 10394676"/>
                <a:gd name="connsiteX421" fmla="*/ 4127174 w 10375356"/>
                <a:gd name="connsiteY421" fmla="*/ 1871180 h 10394676"/>
                <a:gd name="connsiteX422" fmla="*/ 4120150 w 10375356"/>
                <a:gd name="connsiteY422" fmla="*/ 1836147 h 10394676"/>
                <a:gd name="connsiteX423" fmla="*/ 3969851 w 10375356"/>
                <a:gd name="connsiteY423" fmla="*/ 1736725 h 10394676"/>
                <a:gd name="connsiteX424" fmla="*/ 3806796 w 10375356"/>
                <a:gd name="connsiteY424" fmla="*/ 1899781 h 10394676"/>
                <a:gd name="connsiteX425" fmla="*/ 3819555 w 10375356"/>
                <a:gd name="connsiteY425" fmla="*/ 1963414 h 10394676"/>
                <a:gd name="connsiteX426" fmla="*/ 3832208 w 10375356"/>
                <a:gd name="connsiteY426" fmla="*/ 1982224 h 10394676"/>
                <a:gd name="connsiteX427" fmla="*/ 3741230 w 10375356"/>
                <a:gd name="connsiteY427" fmla="*/ 2026051 h 10394676"/>
                <a:gd name="connsiteX428" fmla="*/ 3725686 w 10375356"/>
                <a:gd name="connsiteY428" fmla="*/ 2002984 h 10394676"/>
                <a:gd name="connsiteX429" fmla="*/ 3704886 w 10375356"/>
                <a:gd name="connsiteY429" fmla="*/ 1899781 h 10394676"/>
                <a:gd name="connsiteX430" fmla="*/ 3969851 w 10375356"/>
                <a:gd name="connsiteY430" fmla="*/ 1634813 h 10394676"/>
                <a:gd name="connsiteX431" fmla="*/ 7842360 w 10375356"/>
                <a:gd name="connsiteY431" fmla="*/ 1024629 h 10394676"/>
                <a:gd name="connsiteX432" fmla="*/ 8330359 w 10375356"/>
                <a:gd name="connsiteY432" fmla="*/ 1024629 h 10394676"/>
                <a:gd name="connsiteX433" fmla="*/ 8353182 w 10375356"/>
                <a:gd name="connsiteY433" fmla="*/ 1042565 h 10394676"/>
                <a:gd name="connsiteX434" fmla="*/ 8353182 w 10375356"/>
                <a:gd name="connsiteY434" fmla="*/ 1126539 h 10394676"/>
                <a:gd name="connsiteX435" fmla="*/ 7842360 w 10375356"/>
                <a:gd name="connsiteY435" fmla="*/ 1126539 h 10394676"/>
                <a:gd name="connsiteX436" fmla="*/ 5371048 w 10375356"/>
                <a:gd name="connsiteY436" fmla="*/ 1024629 h 10394676"/>
                <a:gd name="connsiteX437" fmla="*/ 5881870 w 10375356"/>
                <a:gd name="connsiteY437" fmla="*/ 1024629 h 10394676"/>
                <a:gd name="connsiteX438" fmla="*/ 5881870 w 10375356"/>
                <a:gd name="connsiteY438" fmla="*/ 1126539 h 10394676"/>
                <a:gd name="connsiteX439" fmla="*/ 5371048 w 10375356"/>
                <a:gd name="connsiteY439" fmla="*/ 1126539 h 10394676"/>
                <a:gd name="connsiteX440" fmla="*/ 4538001 w 10375356"/>
                <a:gd name="connsiteY440" fmla="*/ 1024629 h 10394676"/>
                <a:gd name="connsiteX441" fmla="*/ 5048825 w 10375356"/>
                <a:gd name="connsiteY441" fmla="*/ 1024629 h 10394676"/>
                <a:gd name="connsiteX442" fmla="*/ 5048825 w 10375356"/>
                <a:gd name="connsiteY442" fmla="*/ 1126539 h 10394676"/>
                <a:gd name="connsiteX443" fmla="*/ 4538001 w 10375356"/>
                <a:gd name="connsiteY443" fmla="*/ 1126539 h 10394676"/>
                <a:gd name="connsiteX444" fmla="*/ 2890886 w 10375356"/>
                <a:gd name="connsiteY444" fmla="*/ 1024629 h 10394676"/>
                <a:gd name="connsiteX445" fmla="*/ 3401709 w 10375356"/>
                <a:gd name="connsiteY445" fmla="*/ 1024629 h 10394676"/>
                <a:gd name="connsiteX446" fmla="*/ 3401709 w 10375356"/>
                <a:gd name="connsiteY446" fmla="*/ 1126539 h 10394676"/>
                <a:gd name="connsiteX447" fmla="*/ 2890886 w 10375356"/>
                <a:gd name="connsiteY447" fmla="*/ 1126539 h 10394676"/>
                <a:gd name="connsiteX448" fmla="*/ 6450017 w 10375356"/>
                <a:gd name="connsiteY448" fmla="*/ 912529 h 10394676"/>
                <a:gd name="connsiteX449" fmla="*/ 6286962 w 10375356"/>
                <a:gd name="connsiteY449" fmla="*/ 1075585 h 10394676"/>
                <a:gd name="connsiteX450" fmla="*/ 6450017 w 10375356"/>
                <a:gd name="connsiteY450" fmla="*/ 1238639 h 10394676"/>
                <a:gd name="connsiteX451" fmla="*/ 6613073 w 10375356"/>
                <a:gd name="connsiteY451" fmla="*/ 1075585 h 10394676"/>
                <a:gd name="connsiteX452" fmla="*/ 6450017 w 10375356"/>
                <a:gd name="connsiteY452" fmla="*/ 912529 h 10394676"/>
                <a:gd name="connsiteX453" fmla="*/ 2373692 w 10375356"/>
                <a:gd name="connsiteY453" fmla="*/ 828587 h 10394676"/>
                <a:gd name="connsiteX454" fmla="*/ 2373692 w 10375356"/>
                <a:gd name="connsiteY454" fmla="*/ 1331633 h 10394676"/>
                <a:gd name="connsiteX455" fmla="*/ 2271782 w 10375356"/>
                <a:gd name="connsiteY455" fmla="*/ 1331633 h 10394676"/>
                <a:gd name="connsiteX456" fmla="*/ 2271782 w 10375356"/>
                <a:gd name="connsiteY456" fmla="*/ 895706 h 10394676"/>
                <a:gd name="connsiteX457" fmla="*/ 2297278 w 10375356"/>
                <a:gd name="connsiteY457" fmla="*/ 877575 h 10394676"/>
                <a:gd name="connsiteX458" fmla="*/ 7223258 w 10375356"/>
                <a:gd name="connsiteY458" fmla="*/ 820809 h 10394676"/>
                <a:gd name="connsiteX459" fmla="*/ 7325168 w 10375356"/>
                <a:gd name="connsiteY459" fmla="*/ 820809 h 10394676"/>
                <a:gd name="connsiteX460" fmla="*/ 7325168 w 10375356"/>
                <a:gd name="connsiteY460" fmla="*/ 1331633 h 10394676"/>
                <a:gd name="connsiteX461" fmla="*/ 7223258 w 10375356"/>
                <a:gd name="connsiteY461" fmla="*/ 1331633 h 10394676"/>
                <a:gd name="connsiteX462" fmla="*/ 3918899 w 10375356"/>
                <a:gd name="connsiteY462" fmla="*/ 820809 h 10394676"/>
                <a:gd name="connsiteX463" fmla="*/ 4020808 w 10375356"/>
                <a:gd name="connsiteY463" fmla="*/ 820809 h 10394676"/>
                <a:gd name="connsiteX464" fmla="*/ 4020808 w 10375356"/>
                <a:gd name="connsiteY464" fmla="*/ 1331633 h 10394676"/>
                <a:gd name="connsiteX465" fmla="*/ 3918899 w 10375356"/>
                <a:gd name="connsiteY465" fmla="*/ 1331633 h 10394676"/>
                <a:gd name="connsiteX466" fmla="*/ 6451292 w 10375356"/>
                <a:gd name="connsiteY466" fmla="*/ 810617 h 10394676"/>
                <a:gd name="connsiteX467" fmla="*/ 6716257 w 10375356"/>
                <a:gd name="connsiteY467" fmla="*/ 1075585 h 10394676"/>
                <a:gd name="connsiteX468" fmla="*/ 6451292 w 10375356"/>
                <a:gd name="connsiteY468" fmla="*/ 1340549 h 10394676"/>
                <a:gd name="connsiteX469" fmla="*/ 6186326 w 10375356"/>
                <a:gd name="connsiteY469" fmla="*/ 1075585 h 10394676"/>
                <a:gd name="connsiteX470" fmla="*/ 6451292 w 10375356"/>
                <a:gd name="connsiteY470" fmla="*/ 810617 h 10394676"/>
                <a:gd name="connsiteX471" fmla="*/ 6399063 w 10375356"/>
                <a:gd name="connsiteY471" fmla="*/ 125503 h 10394676"/>
                <a:gd name="connsiteX472" fmla="*/ 6500973 w 10375356"/>
                <a:gd name="connsiteY472" fmla="*/ 149024 h 10394676"/>
                <a:gd name="connsiteX473" fmla="*/ 6500973 w 10375356"/>
                <a:gd name="connsiteY473" fmla="*/ 508711 h 10394676"/>
                <a:gd name="connsiteX474" fmla="*/ 6399063 w 10375356"/>
                <a:gd name="connsiteY474" fmla="*/ 508711 h 10394676"/>
                <a:gd name="connsiteX475" fmla="*/ 4743094 w 10375356"/>
                <a:gd name="connsiteY475" fmla="*/ 101073 h 10394676"/>
                <a:gd name="connsiteX476" fmla="*/ 4845004 w 10375356"/>
                <a:gd name="connsiteY476" fmla="*/ 101073 h 10394676"/>
                <a:gd name="connsiteX477" fmla="*/ 4845004 w 10375356"/>
                <a:gd name="connsiteY477" fmla="*/ 508711 h 10394676"/>
                <a:gd name="connsiteX478" fmla="*/ 4743094 w 10375356"/>
                <a:gd name="connsiteY478" fmla="*/ 508711 h 10394676"/>
                <a:gd name="connsiteX479" fmla="*/ 4174642 w 10375356"/>
                <a:gd name="connsiteY479" fmla="*/ 91020 h 10394676"/>
                <a:gd name="connsiteX480" fmla="*/ 4214021 w 10375356"/>
                <a:gd name="connsiteY480" fmla="*/ 149458 h 10394676"/>
                <a:gd name="connsiteX481" fmla="*/ 4234820 w 10375356"/>
                <a:gd name="connsiteY481" fmla="*/ 252661 h 10394676"/>
                <a:gd name="connsiteX482" fmla="*/ 3969854 w 10375356"/>
                <a:gd name="connsiteY482" fmla="*/ 517629 h 10394676"/>
                <a:gd name="connsiteX483" fmla="*/ 3704889 w 10375356"/>
                <a:gd name="connsiteY483" fmla="*/ 252661 h 10394676"/>
                <a:gd name="connsiteX484" fmla="*/ 3714113 w 10375356"/>
                <a:gd name="connsiteY484" fmla="*/ 206895 h 10394676"/>
                <a:gd name="connsiteX485" fmla="*/ 3829928 w 10375356"/>
                <a:gd name="connsiteY485" fmla="*/ 174007 h 10394676"/>
                <a:gd name="connsiteX486" fmla="*/ 3819737 w 10375356"/>
                <a:gd name="connsiteY486" fmla="*/ 189028 h 10394676"/>
                <a:gd name="connsiteX487" fmla="*/ 3806799 w 10375356"/>
                <a:gd name="connsiteY487" fmla="*/ 252661 h 10394676"/>
                <a:gd name="connsiteX488" fmla="*/ 3969854 w 10375356"/>
                <a:gd name="connsiteY488" fmla="*/ 415717 h 10394676"/>
                <a:gd name="connsiteX489" fmla="*/ 4132911 w 10375356"/>
                <a:gd name="connsiteY489" fmla="*/ 252661 h 10394676"/>
                <a:gd name="connsiteX490" fmla="*/ 4085300 w 10375356"/>
                <a:gd name="connsiteY490" fmla="*/ 137218 h 10394676"/>
                <a:gd name="connsiteX491" fmla="*/ 4056168 w 10375356"/>
                <a:gd name="connsiteY491" fmla="*/ 117622 h 10394676"/>
                <a:gd name="connsiteX492" fmla="*/ 4160436 w 10375356"/>
                <a:gd name="connsiteY492" fmla="*/ 93557 h 10394676"/>
                <a:gd name="connsiteX493" fmla="*/ 5625822 w 10375356"/>
                <a:gd name="connsiteY493" fmla="*/ 89607 h 10394676"/>
                <a:gd name="connsiteX494" fmla="*/ 5462766 w 10375356"/>
                <a:gd name="connsiteY494" fmla="*/ 252661 h 10394676"/>
                <a:gd name="connsiteX495" fmla="*/ 5625822 w 10375356"/>
                <a:gd name="connsiteY495" fmla="*/ 415717 h 10394676"/>
                <a:gd name="connsiteX496" fmla="*/ 5788878 w 10375356"/>
                <a:gd name="connsiteY496" fmla="*/ 252661 h 10394676"/>
                <a:gd name="connsiteX497" fmla="*/ 5625822 w 10375356"/>
                <a:gd name="connsiteY497" fmla="*/ 89607 h 10394676"/>
                <a:gd name="connsiteX498" fmla="*/ 5551305 w 10375356"/>
                <a:gd name="connsiteY498" fmla="*/ 0 h 10394676"/>
                <a:gd name="connsiteX499" fmla="*/ 5741268 w 10375356"/>
                <a:gd name="connsiteY499" fmla="*/ 14445 h 10394676"/>
                <a:gd name="connsiteX500" fmla="*/ 5775311 w 10375356"/>
                <a:gd name="connsiteY500" fmla="*/ 32907 h 10394676"/>
                <a:gd name="connsiteX501" fmla="*/ 5892062 w 10375356"/>
                <a:gd name="connsiteY501" fmla="*/ 252661 h 10394676"/>
                <a:gd name="connsiteX502" fmla="*/ 5627096 w 10375356"/>
                <a:gd name="connsiteY502" fmla="*/ 517629 h 10394676"/>
                <a:gd name="connsiteX503" fmla="*/ 5362131 w 10375356"/>
                <a:gd name="connsiteY503" fmla="*/ 252661 h 10394676"/>
                <a:gd name="connsiteX504" fmla="*/ 5523893 w 10375356"/>
                <a:gd name="connsiteY504" fmla="*/ 8497 h 1039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</a:cxnLst>
              <a:rect l="l" t="t" r="r" b="b"/>
              <a:pathLst>
                <a:path w="10375356" h="10394676">
                  <a:moveTo>
                    <a:pt x="6202887" y="10086957"/>
                  </a:moveTo>
                  <a:lnTo>
                    <a:pt x="6713710" y="10086957"/>
                  </a:lnTo>
                  <a:lnTo>
                    <a:pt x="6713710" y="10187665"/>
                  </a:lnTo>
                  <a:lnTo>
                    <a:pt x="6709472" y="10188869"/>
                  </a:lnTo>
                  <a:lnTo>
                    <a:pt x="6202887" y="10188869"/>
                  </a:lnTo>
                  <a:close/>
                  <a:moveTo>
                    <a:pt x="5634740" y="9974857"/>
                  </a:moveTo>
                  <a:cubicBezTo>
                    <a:pt x="5544295" y="9974857"/>
                    <a:pt x="5471684" y="10047469"/>
                    <a:pt x="5471684" y="10137913"/>
                  </a:cubicBezTo>
                  <a:cubicBezTo>
                    <a:pt x="5471684" y="10228357"/>
                    <a:pt x="5544295" y="10300969"/>
                    <a:pt x="5634740" y="10300969"/>
                  </a:cubicBezTo>
                  <a:cubicBezTo>
                    <a:pt x="5725185" y="10299693"/>
                    <a:pt x="5797795" y="10227083"/>
                    <a:pt x="5797795" y="10137913"/>
                  </a:cubicBezTo>
                  <a:cubicBezTo>
                    <a:pt x="5797795" y="10047469"/>
                    <a:pt x="5725185" y="9974857"/>
                    <a:pt x="5634740" y="9974857"/>
                  </a:cubicBezTo>
                  <a:close/>
                  <a:moveTo>
                    <a:pt x="7232175" y="9881865"/>
                  </a:moveTo>
                  <a:lnTo>
                    <a:pt x="7334085" y="9881865"/>
                  </a:lnTo>
                  <a:lnTo>
                    <a:pt x="7334085" y="9956193"/>
                  </a:lnTo>
                  <a:lnTo>
                    <a:pt x="7238719" y="9999307"/>
                  </a:lnTo>
                  <a:lnTo>
                    <a:pt x="7232175" y="10001887"/>
                  </a:lnTo>
                  <a:close/>
                  <a:moveTo>
                    <a:pt x="4751991" y="9881865"/>
                  </a:moveTo>
                  <a:lnTo>
                    <a:pt x="4853901" y="9881865"/>
                  </a:lnTo>
                  <a:lnTo>
                    <a:pt x="4853901" y="10290777"/>
                  </a:lnTo>
                  <a:lnTo>
                    <a:pt x="4751991" y="10290777"/>
                  </a:lnTo>
                  <a:close/>
                  <a:moveTo>
                    <a:pt x="5636013" y="9872947"/>
                  </a:moveTo>
                  <a:cubicBezTo>
                    <a:pt x="5782509" y="9872947"/>
                    <a:pt x="5900978" y="9991417"/>
                    <a:pt x="5900978" y="10137913"/>
                  </a:cubicBezTo>
                  <a:cubicBezTo>
                    <a:pt x="5900978" y="10247785"/>
                    <a:pt x="5834339" y="10341891"/>
                    <a:pt x="5739217" y="10382077"/>
                  </a:cubicBezTo>
                  <a:lnTo>
                    <a:pt x="5738756" y="10382220"/>
                  </a:lnTo>
                  <a:lnTo>
                    <a:pt x="5574951" y="10394676"/>
                  </a:lnTo>
                  <a:lnTo>
                    <a:pt x="5532810" y="10381361"/>
                  </a:lnTo>
                  <a:cubicBezTo>
                    <a:pt x="5437688" y="10340697"/>
                    <a:pt x="5371048" y="10246828"/>
                    <a:pt x="5371048" y="10137913"/>
                  </a:cubicBezTo>
                  <a:cubicBezTo>
                    <a:pt x="5371048" y="9991417"/>
                    <a:pt x="5489518" y="9872947"/>
                    <a:pt x="5636013" y="9872947"/>
                  </a:cubicBezTo>
                  <a:close/>
                  <a:moveTo>
                    <a:pt x="3978752" y="9872947"/>
                  </a:moveTo>
                  <a:cubicBezTo>
                    <a:pt x="4125249" y="9872947"/>
                    <a:pt x="4243718" y="9991417"/>
                    <a:pt x="4243718" y="10137913"/>
                  </a:cubicBezTo>
                  <a:cubicBezTo>
                    <a:pt x="4243718" y="10174537"/>
                    <a:pt x="4236314" y="10209409"/>
                    <a:pt x="4222918" y="10241117"/>
                  </a:cubicBezTo>
                  <a:lnTo>
                    <a:pt x="4179036" y="10306239"/>
                  </a:lnTo>
                  <a:lnTo>
                    <a:pt x="4160436" y="10302917"/>
                  </a:lnTo>
                  <a:lnTo>
                    <a:pt x="4056265" y="10278875"/>
                  </a:lnTo>
                  <a:lnTo>
                    <a:pt x="4094199" y="10253357"/>
                  </a:lnTo>
                  <a:cubicBezTo>
                    <a:pt x="4123657" y="10223899"/>
                    <a:pt x="4141809" y="10183135"/>
                    <a:pt x="4141809" y="10137913"/>
                  </a:cubicBezTo>
                  <a:cubicBezTo>
                    <a:pt x="4141809" y="10047469"/>
                    <a:pt x="4069199" y="9974857"/>
                    <a:pt x="3978752" y="9974857"/>
                  </a:cubicBezTo>
                  <a:cubicBezTo>
                    <a:pt x="3889581" y="9974857"/>
                    <a:pt x="3815698" y="10047469"/>
                    <a:pt x="3815698" y="10137913"/>
                  </a:cubicBezTo>
                  <a:cubicBezTo>
                    <a:pt x="3815698" y="10160524"/>
                    <a:pt x="3820237" y="10182021"/>
                    <a:pt x="3828457" y="10201547"/>
                  </a:cubicBezTo>
                  <a:lnTo>
                    <a:pt x="3845505" y="10226891"/>
                  </a:lnTo>
                  <a:lnTo>
                    <a:pt x="3724813" y="10192618"/>
                  </a:lnTo>
                  <a:lnTo>
                    <a:pt x="3713787" y="10137913"/>
                  </a:lnTo>
                  <a:cubicBezTo>
                    <a:pt x="3713787" y="9991417"/>
                    <a:pt x="3832257" y="9872947"/>
                    <a:pt x="3978752" y="9872947"/>
                  </a:cubicBezTo>
                  <a:close/>
                  <a:moveTo>
                    <a:pt x="3155832" y="9872947"/>
                  </a:moveTo>
                  <a:cubicBezTo>
                    <a:pt x="3265704" y="9872947"/>
                    <a:pt x="3359812" y="9939586"/>
                    <a:pt x="3399999" y="10034709"/>
                  </a:cubicBezTo>
                  <a:lnTo>
                    <a:pt x="3411035" y="10089469"/>
                  </a:lnTo>
                  <a:lnTo>
                    <a:pt x="3280434" y="10037975"/>
                  </a:lnTo>
                  <a:lnTo>
                    <a:pt x="3270003" y="10022469"/>
                  </a:lnTo>
                  <a:cubicBezTo>
                    <a:pt x="3240545" y="9993010"/>
                    <a:pt x="3199781" y="9974857"/>
                    <a:pt x="3154558" y="9974857"/>
                  </a:cubicBezTo>
                  <a:lnTo>
                    <a:pt x="3136355" y="9978507"/>
                  </a:lnTo>
                  <a:lnTo>
                    <a:pt x="3005935" y="9919545"/>
                  </a:lnTo>
                  <a:lnTo>
                    <a:pt x="3007618" y="9918157"/>
                  </a:lnTo>
                  <a:cubicBezTo>
                    <a:pt x="3049902" y="9889607"/>
                    <a:pt x="3100897" y="9872947"/>
                    <a:pt x="3155832" y="9872947"/>
                  </a:cubicBezTo>
                  <a:close/>
                  <a:moveTo>
                    <a:pt x="7851277" y="9262761"/>
                  </a:moveTo>
                  <a:lnTo>
                    <a:pt x="8362099" y="9262761"/>
                  </a:lnTo>
                  <a:lnTo>
                    <a:pt x="8362099" y="9346902"/>
                  </a:lnTo>
                  <a:lnTo>
                    <a:pt x="8339488" y="9364671"/>
                  </a:lnTo>
                  <a:lnTo>
                    <a:pt x="7851277" y="9364671"/>
                  </a:lnTo>
                  <a:close/>
                  <a:moveTo>
                    <a:pt x="5379965" y="9262761"/>
                  </a:moveTo>
                  <a:lnTo>
                    <a:pt x="5890787" y="9262761"/>
                  </a:lnTo>
                  <a:lnTo>
                    <a:pt x="5890787" y="9364671"/>
                  </a:lnTo>
                  <a:lnTo>
                    <a:pt x="5379965" y="9364671"/>
                  </a:lnTo>
                  <a:close/>
                  <a:moveTo>
                    <a:pt x="4546902" y="9262761"/>
                  </a:moveTo>
                  <a:lnTo>
                    <a:pt x="5057725" y="9262761"/>
                  </a:lnTo>
                  <a:lnTo>
                    <a:pt x="5057725" y="9364671"/>
                  </a:lnTo>
                  <a:lnTo>
                    <a:pt x="4546902" y="9364671"/>
                  </a:lnTo>
                  <a:close/>
                  <a:moveTo>
                    <a:pt x="2899787" y="9262761"/>
                  </a:moveTo>
                  <a:lnTo>
                    <a:pt x="3410609" y="9262761"/>
                  </a:lnTo>
                  <a:lnTo>
                    <a:pt x="3410609" y="9364671"/>
                  </a:lnTo>
                  <a:lnTo>
                    <a:pt x="2899787" y="9364671"/>
                  </a:lnTo>
                  <a:close/>
                  <a:moveTo>
                    <a:pt x="6450017" y="9150661"/>
                  </a:moveTo>
                  <a:cubicBezTo>
                    <a:pt x="6359572" y="9150661"/>
                    <a:pt x="6286962" y="9223273"/>
                    <a:pt x="6286962" y="9313717"/>
                  </a:cubicBezTo>
                  <a:cubicBezTo>
                    <a:pt x="6286962" y="9404161"/>
                    <a:pt x="6359572" y="9476773"/>
                    <a:pt x="6450017" y="9476773"/>
                  </a:cubicBezTo>
                  <a:cubicBezTo>
                    <a:pt x="6540463" y="9476773"/>
                    <a:pt x="6613073" y="9404161"/>
                    <a:pt x="6613073" y="9313717"/>
                  </a:cubicBezTo>
                  <a:cubicBezTo>
                    <a:pt x="6613073" y="9223273"/>
                    <a:pt x="6540463" y="9150661"/>
                    <a:pt x="6450017" y="9150661"/>
                  </a:cubicBezTo>
                  <a:close/>
                  <a:moveTo>
                    <a:pt x="3978754" y="9150661"/>
                  </a:moveTo>
                  <a:cubicBezTo>
                    <a:pt x="3889583" y="9150661"/>
                    <a:pt x="3815700" y="9223273"/>
                    <a:pt x="3815700" y="9313717"/>
                  </a:cubicBezTo>
                  <a:cubicBezTo>
                    <a:pt x="3815700" y="9404161"/>
                    <a:pt x="3888310" y="9476773"/>
                    <a:pt x="3978754" y="9476773"/>
                  </a:cubicBezTo>
                  <a:cubicBezTo>
                    <a:pt x="4069201" y="9476773"/>
                    <a:pt x="4141811" y="9404161"/>
                    <a:pt x="4141811" y="9313717"/>
                  </a:cubicBezTo>
                  <a:cubicBezTo>
                    <a:pt x="4141811" y="9223273"/>
                    <a:pt x="4069201" y="9150661"/>
                    <a:pt x="3978754" y="9150661"/>
                  </a:cubicBezTo>
                  <a:close/>
                  <a:moveTo>
                    <a:pt x="7232175" y="9057669"/>
                  </a:moveTo>
                  <a:lnTo>
                    <a:pt x="7334085" y="9057669"/>
                  </a:lnTo>
                  <a:lnTo>
                    <a:pt x="7334085" y="9568493"/>
                  </a:lnTo>
                  <a:lnTo>
                    <a:pt x="7232175" y="9568493"/>
                  </a:lnTo>
                  <a:close/>
                  <a:moveTo>
                    <a:pt x="2280685" y="9057669"/>
                  </a:moveTo>
                  <a:lnTo>
                    <a:pt x="2382595" y="9057669"/>
                  </a:lnTo>
                  <a:lnTo>
                    <a:pt x="2382595" y="9568493"/>
                  </a:lnTo>
                  <a:lnTo>
                    <a:pt x="2374638" y="9568493"/>
                  </a:lnTo>
                  <a:lnTo>
                    <a:pt x="2297278" y="9518899"/>
                  </a:lnTo>
                  <a:lnTo>
                    <a:pt x="2280685" y="9507099"/>
                  </a:lnTo>
                  <a:close/>
                  <a:moveTo>
                    <a:pt x="6450017" y="9048751"/>
                  </a:moveTo>
                  <a:cubicBezTo>
                    <a:pt x="6596513" y="9048751"/>
                    <a:pt x="6714982" y="9167221"/>
                    <a:pt x="6714982" y="9313717"/>
                  </a:cubicBezTo>
                  <a:cubicBezTo>
                    <a:pt x="6714982" y="9460213"/>
                    <a:pt x="6596513" y="9578681"/>
                    <a:pt x="6450017" y="9578681"/>
                  </a:cubicBezTo>
                  <a:cubicBezTo>
                    <a:pt x="6303522" y="9578681"/>
                    <a:pt x="6185052" y="9460213"/>
                    <a:pt x="6185052" y="9313717"/>
                  </a:cubicBezTo>
                  <a:cubicBezTo>
                    <a:pt x="6185052" y="9167221"/>
                    <a:pt x="6303522" y="9048751"/>
                    <a:pt x="6450017" y="9048751"/>
                  </a:cubicBezTo>
                  <a:close/>
                  <a:moveTo>
                    <a:pt x="3978754" y="9048751"/>
                  </a:moveTo>
                  <a:cubicBezTo>
                    <a:pt x="4125250" y="9048751"/>
                    <a:pt x="4243720" y="9167221"/>
                    <a:pt x="4243720" y="9313717"/>
                  </a:cubicBezTo>
                  <a:cubicBezTo>
                    <a:pt x="4243720" y="9460213"/>
                    <a:pt x="4125250" y="9578681"/>
                    <a:pt x="3978754" y="9578681"/>
                  </a:cubicBezTo>
                  <a:cubicBezTo>
                    <a:pt x="3832260" y="9578681"/>
                    <a:pt x="3713789" y="9460213"/>
                    <a:pt x="3713789" y="9313717"/>
                  </a:cubicBezTo>
                  <a:cubicBezTo>
                    <a:pt x="3713789" y="9167221"/>
                    <a:pt x="3832260" y="9048751"/>
                    <a:pt x="3978754" y="9048751"/>
                  </a:cubicBezTo>
                  <a:close/>
                  <a:moveTo>
                    <a:pt x="5676776" y="8665264"/>
                  </a:moveTo>
                  <a:lnTo>
                    <a:pt x="5676776" y="8745569"/>
                  </a:lnTo>
                  <a:lnTo>
                    <a:pt x="5574867" y="8745569"/>
                  </a:lnTo>
                  <a:lnTo>
                    <a:pt x="5574867" y="8678214"/>
                  </a:lnTo>
                  <a:close/>
                  <a:moveTo>
                    <a:pt x="3918880" y="8449859"/>
                  </a:moveTo>
                  <a:lnTo>
                    <a:pt x="4007509" y="8484804"/>
                  </a:lnTo>
                  <a:lnTo>
                    <a:pt x="4020789" y="8489298"/>
                  </a:lnTo>
                  <a:lnTo>
                    <a:pt x="4020789" y="8745569"/>
                  </a:lnTo>
                  <a:lnTo>
                    <a:pt x="3918880" y="8745569"/>
                  </a:lnTo>
                  <a:close/>
                  <a:moveTo>
                    <a:pt x="7018165" y="8438567"/>
                  </a:moveTo>
                  <a:lnTo>
                    <a:pt x="7528988" y="8438567"/>
                  </a:lnTo>
                  <a:lnTo>
                    <a:pt x="7528988" y="8540477"/>
                  </a:lnTo>
                  <a:lnTo>
                    <a:pt x="7018165" y="8540477"/>
                  </a:lnTo>
                  <a:close/>
                  <a:moveTo>
                    <a:pt x="6530840" y="8438567"/>
                  </a:moveTo>
                  <a:lnTo>
                    <a:pt x="6697148" y="8438567"/>
                  </a:lnTo>
                  <a:lnTo>
                    <a:pt x="6697148" y="8540477"/>
                  </a:lnTo>
                  <a:lnTo>
                    <a:pt x="6248661" y="8540477"/>
                  </a:lnTo>
                  <a:lnTo>
                    <a:pt x="6251001" y="8539813"/>
                  </a:lnTo>
                  <a:cubicBezTo>
                    <a:pt x="6305781" y="8522774"/>
                    <a:pt x="6359984" y="8504426"/>
                    <a:pt x="6413573" y="8484804"/>
                  </a:cubicBezTo>
                  <a:close/>
                  <a:moveTo>
                    <a:pt x="2066673" y="8438567"/>
                  </a:moveTo>
                  <a:lnTo>
                    <a:pt x="2577496" y="8438567"/>
                  </a:lnTo>
                  <a:lnTo>
                    <a:pt x="2577496" y="8540477"/>
                  </a:lnTo>
                  <a:lnTo>
                    <a:pt x="2066673" y="8540477"/>
                  </a:lnTo>
                  <a:close/>
                  <a:moveTo>
                    <a:pt x="1234837" y="8438567"/>
                  </a:moveTo>
                  <a:lnTo>
                    <a:pt x="1745660" y="8438567"/>
                  </a:lnTo>
                  <a:lnTo>
                    <a:pt x="1745660" y="8540477"/>
                  </a:lnTo>
                  <a:lnTo>
                    <a:pt x="1234837" y="8540477"/>
                  </a:lnTo>
                  <a:close/>
                  <a:moveTo>
                    <a:pt x="8870376" y="8234747"/>
                  </a:moveTo>
                  <a:lnTo>
                    <a:pt x="8972285" y="8234747"/>
                  </a:lnTo>
                  <a:lnTo>
                    <a:pt x="8972285" y="8745569"/>
                  </a:lnTo>
                  <a:lnTo>
                    <a:pt x="8870376" y="8745569"/>
                  </a:lnTo>
                  <a:close/>
                  <a:moveTo>
                    <a:pt x="8046180" y="8234747"/>
                  </a:moveTo>
                  <a:lnTo>
                    <a:pt x="8148089" y="8234747"/>
                  </a:lnTo>
                  <a:lnTo>
                    <a:pt x="8148089" y="8745569"/>
                  </a:lnTo>
                  <a:lnTo>
                    <a:pt x="8046180" y="8745569"/>
                  </a:lnTo>
                  <a:close/>
                  <a:moveTo>
                    <a:pt x="3094685" y="8234747"/>
                  </a:moveTo>
                  <a:lnTo>
                    <a:pt x="3196595" y="8234747"/>
                  </a:lnTo>
                  <a:lnTo>
                    <a:pt x="3196595" y="8745569"/>
                  </a:lnTo>
                  <a:lnTo>
                    <a:pt x="3094685" y="8745569"/>
                  </a:lnTo>
                  <a:close/>
                  <a:moveTo>
                    <a:pt x="9489477" y="7615645"/>
                  </a:moveTo>
                  <a:lnTo>
                    <a:pt x="9824110" y="7615645"/>
                  </a:lnTo>
                  <a:lnTo>
                    <a:pt x="9792198" y="7681890"/>
                  </a:lnTo>
                  <a:lnTo>
                    <a:pt x="9770531" y="7717555"/>
                  </a:lnTo>
                  <a:lnTo>
                    <a:pt x="9489477" y="7717555"/>
                  </a:lnTo>
                  <a:close/>
                  <a:moveTo>
                    <a:pt x="8666557" y="7615645"/>
                  </a:moveTo>
                  <a:lnTo>
                    <a:pt x="9177379" y="7615645"/>
                  </a:lnTo>
                  <a:lnTo>
                    <a:pt x="9177379" y="7717555"/>
                  </a:lnTo>
                  <a:lnTo>
                    <a:pt x="8666557" y="7717555"/>
                  </a:lnTo>
                  <a:close/>
                  <a:moveTo>
                    <a:pt x="2322721" y="7503545"/>
                  </a:moveTo>
                  <a:cubicBezTo>
                    <a:pt x="2232276" y="7503545"/>
                    <a:pt x="2159665" y="7576155"/>
                    <a:pt x="2159665" y="7666599"/>
                  </a:cubicBezTo>
                  <a:cubicBezTo>
                    <a:pt x="2159665" y="7757045"/>
                    <a:pt x="2232276" y="7829655"/>
                    <a:pt x="2322721" y="7829655"/>
                  </a:cubicBezTo>
                  <a:cubicBezTo>
                    <a:pt x="2411891" y="7828381"/>
                    <a:pt x="2485776" y="7755769"/>
                    <a:pt x="2485776" y="7666599"/>
                  </a:cubicBezTo>
                  <a:cubicBezTo>
                    <a:pt x="2485776" y="7576155"/>
                    <a:pt x="2413167" y="7503545"/>
                    <a:pt x="2322721" y="7503545"/>
                  </a:cubicBezTo>
                  <a:close/>
                  <a:moveTo>
                    <a:pt x="8046180" y="7410553"/>
                  </a:moveTo>
                  <a:lnTo>
                    <a:pt x="8148089" y="7410553"/>
                  </a:lnTo>
                  <a:lnTo>
                    <a:pt x="8148089" y="7921375"/>
                  </a:lnTo>
                  <a:lnTo>
                    <a:pt x="8046180" y="7921375"/>
                  </a:lnTo>
                  <a:close/>
                  <a:moveTo>
                    <a:pt x="1447573" y="7410553"/>
                  </a:moveTo>
                  <a:lnTo>
                    <a:pt x="1549483" y="7410553"/>
                  </a:lnTo>
                  <a:lnTo>
                    <a:pt x="1549483" y="7921375"/>
                  </a:lnTo>
                  <a:lnTo>
                    <a:pt x="1447573" y="7921375"/>
                  </a:lnTo>
                  <a:close/>
                  <a:moveTo>
                    <a:pt x="2322721" y="7401633"/>
                  </a:moveTo>
                  <a:cubicBezTo>
                    <a:pt x="2469216" y="7401633"/>
                    <a:pt x="2587686" y="7520105"/>
                    <a:pt x="2587686" y="7666599"/>
                  </a:cubicBezTo>
                  <a:cubicBezTo>
                    <a:pt x="2587686" y="7813095"/>
                    <a:pt x="2469216" y="7931565"/>
                    <a:pt x="2322721" y="7931565"/>
                  </a:cubicBezTo>
                  <a:cubicBezTo>
                    <a:pt x="2176225" y="7930291"/>
                    <a:pt x="2057755" y="7811821"/>
                    <a:pt x="2057755" y="7666599"/>
                  </a:cubicBezTo>
                  <a:cubicBezTo>
                    <a:pt x="2057755" y="7520105"/>
                    <a:pt x="2176225" y="7401633"/>
                    <a:pt x="2322721" y="7401633"/>
                  </a:cubicBezTo>
                  <a:close/>
                  <a:moveTo>
                    <a:pt x="674333" y="7401633"/>
                  </a:moveTo>
                  <a:cubicBezTo>
                    <a:pt x="820829" y="7401633"/>
                    <a:pt x="939299" y="7520105"/>
                    <a:pt x="939299" y="7666599"/>
                  </a:cubicBezTo>
                  <a:cubicBezTo>
                    <a:pt x="939299" y="7776471"/>
                    <a:pt x="872660" y="7870579"/>
                    <a:pt x="777537" y="7910765"/>
                  </a:cubicBezTo>
                  <a:lnTo>
                    <a:pt x="769452" y="7913271"/>
                  </a:lnTo>
                  <a:lnTo>
                    <a:pt x="713980" y="7821961"/>
                  </a:lnTo>
                  <a:lnTo>
                    <a:pt x="739241" y="7816897"/>
                  </a:lnTo>
                  <a:cubicBezTo>
                    <a:pt x="797819" y="7792235"/>
                    <a:pt x="838662" y="7734434"/>
                    <a:pt x="838662" y="7666599"/>
                  </a:cubicBezTo>
                  <a:cubicBezTo>
                    <a:pt x="838662" y="7576155"/>
                    <a:pt x="766051" y="7503545"/>
                    <a:pt x="675607" y="7503545"/>
                  </a:cubicBezTo>
                  <a:cubicBezTo>
                    <a:pt x="652996" y="7503545"/>
                    <a:pt x="631500" y="7508083"/>
                    <a:pt x="611973" y="7516304"/>
                  </a:cubicBezTo>
                  <a:lnTo>
                    <a:pt x="564501" y="7548238"/>
                  </a:lnTo>
                  <a:lnTo>
                    <a:pt x="518632" y="7453019"/>
                  </a:lnTo>
                  <a:lnTo>
                    <a:pt x="526119" y="7446844"/>
                  </a:lnTo>
                  <a:cubicBezTo>
                    <a:pt x="568403" y="7418293"/>
                    <a:pt x="619397" y="7401633"/>
                    <a:pt x="674333" y="7401633"/>
                  </a:cubicBezTo>
                  <a:close/>
                  <a:moveTo>
                    <a:pt x="8148089" y="7094869"/>
                  </a:moveTo>
                  <a:lnTo>
                    <a:pt x="8148089" y="7097179"/>
                  </a:lnTo>
                  <a:lnTo>
                    <a:pt x="8146686" y="7097179"/>
                  </a:lnTo>
                  <a:close/>
                  <a:moveTo>
                    <a:pt x="8665281" y="6791449"/>
                  </a:moveTo>
                  <a:lnTo>
                    <a:pt x="9176104" y="6791449"/>
                  </a:lnTo>
                  <a:lnTo>
                    <a:pt x="9176104" y="6893357"/>
                  </a:lnTo>
                  <a:lnTo>
                    <a:pt x="8665281" y="6893357"/>
                  </a:lnTo>
                  <a:close/>
                  <a:moveTo>
                    <a:pt x="2066681" y="6791449"/>
                  </a:moveTo>
                  <a:lnTo>
                    <a:pt x="2098040" y="6791449"/>
                  </a:lnTo>
                  <a:lnTo>
                    <a:pt x="2133958" y="6866010"/>
                  </a:lnTo>
                  <a:lnTo>
                    <a:pt x="2150572" y="6893357"/>
                  </a:lnTo>
                  <a:lnTo>
                    <a:pt x="2066681" y="6893357"/>
                  </a:lnTo>
                  <a:close/>
                  <a:moveTo>
                    <a:pt x="419562" y="6791449"/>
                  </a:moveTo>
                  <a:lnTo>
                    <a:pt x="930385" y="6791449"/>
                  </a:lnTo>
                  <a:lnTo>
                    <a:pt x="930385" y="6893357"/>
                  </a:lnTo>
                  <a:lnTo>
                    <a:pt x="419562" y="6893357"/>
                  </a:lnTo>
                  <a:close/>
                  <a:moveTo>
                    <a:pt x="9745526" y="6679349"/>
                  </a:moveTo>
                  <a:cubicBezTo>
                    <a:pt x="9655081" y="6679349"/>
                    <a:pt x="9582469" y="6751961"/>
                    <a:pt x="9582469" y="6842405"/>
                  </a:cubicBezTo>
                  <a:cubicBezTo>
                    <a:pt x="9582469" y="6932849"/>
                    <a:pt x="9655081" y="7005461"/>
                    <a:pt x="9745526" y="7005461"/>
                  </a:cubicBezTo>
                  <a:cubicBezTo>
                    <a:pt x="9835970" y="7005461"/>
                    <a:pt x="9908582" y="6932849"/>
                    <a:pt x="9908582" y="6842405"/>
                  </a:cubicBezTo>
                  <a:cubicBezTo>
                    <a:pt x="9908582" y="6751961"/>
                    <a:pt x="9835970" y="6679349"/>
                    <a:pt x="9745526" y="6679349"/>
                  </a:cubicBezTo>
                  <a:close/>
                  <a:moveTo>
                    <a:pt x="1498533" y="6679349"/>
                  </a:moveTo>
                  <a:cubicBezTo>
                    <a:pt x="1408088" y="6679349"/>
                    <a:pt x="1335477" y="6751961"/>
                    <a:pt x="1335477" y="6842405"/>
                  </a:cubicBezTo>
                  <a:cubicBezTo>
                    <a:pt x="1335477" y="6932849"/>
                    <a:pt x="1408088" y="7005461"/>
                    <a:pt x="1498533" y="7005461"/>
                  </a:cubicBezTo>
                  <a:cubicBezTo>
                    <a:pt x="1588977" y="7005461"/>
                    <a:pt x="1661588" y="6932849"/>
                    <a:pt x="1661588" y="6842405"/>
                  </a:cubicBezTo>
                  <a:cubicBezTo>
                    <a:pt x="1661588" y="6751961"/>
                    <a:pt x="1588977" y="6679349"/>
                    <a:pt x="1498533" y="6679349"/>
                  </a:cubicBezTo>
                  <a:close/>
                  <a:moveTo>
                    <a:pt x="9744252" y="6577439"/>
                  </a:moveTo>
                  <a:cubicBezTo>
                    <a:pt x="9890747" y="6577439"/>
                    <a:pt x="10009217" y="6695909"/>
                    <a:pt x="10009217" y="6842405"/>
                  </a:cubicBezTo>
                  <a:cubicBezTo>
                    <a:pt x="10009217" y="6988901"/>
                    <a:pt x="9890747" y="7107369"/>
                    <a:pt x="9744252" y="7107369"/>
                  </a:cubicBezTo>
                  <a:cubicBezTo>
                    <a:pt x="9597757" y="7107369"/>
                    <a:pt x="9479286" y="6988901"/>
                    <a:pt x="9479286" y="6842405"/>
                  </a:cubicBezTo>
                  <a:cubicBezTo>
                    <a:pt x="9479286" y="6695909"/>
                    <a:pt x="9597757" y="6577439"/>
                    <a:pt x="9744252" y="6577439"/>
                  </a:cubicBezTo>
                  <a:close/>
                  <a:moveTo>
                    <a:pt x="1499807" y="6577439"/>
                  </a:moveTo>
                  <a:cubicBezTo>
                    <a:pt x="1646302" y="6577439"/>
                    <a:pt x="1764771" y="6695909"/>
                    <a:pt x="1764771" y="6842405"/>
                  </a:cubicBezTo>
                  <a:cubicBezTo>
                    <a:pt x="1764771" y="6988901"/>
                    <a:pt x="1646302" y="7107369"/>
                    <a:pt x="1499807" y="7107369"/>
                  </a:cubicBezTo>
                  <a:cubicBezTo>
                    <a:pt x="1353311" y="7107369"/>
                    <a:pt x="1234841" y="6988901"/>
                    <a:pt x="1234841" y="6842405"/>
                  </a:cubicBezTo>
                  <a:cubicBezTo>
                    <a:pt x="1234841" y="6695909"/>
                    <a:pt x="1353311" y="6577439"/>
                    <a:pt x="1499807" y="6577439"/>
                  </a:cubicBezTo>
                  <a:close/>
                  <a:moveTo>
                    <a:pt x="8921331" y="5855153"/>
                  </a:moveTo>
                  <a:cubicBezTo>
                    <a:pt x="8830884" y="5855153"/>
                    <a:pt x="8758274" y="5927763"/>
                    <a:pt x="8758274" y="6018209"/>
                  </a:cubicBezTo>
                  <a:cubicBezTo>
                    <a:pt x="8758274" y="6108653"/>
                    <a:pt x="8830884" y="6181265"/>
                    <a:pt x="8921331" y="6181265"/>
                  </a:cubicBezTo>
                  <a:cubicBezTo>
                    <a:pt x="9011775" y="6181265"/>
                    <a:pt x="9084385" y="6108653"/>
                    <a:pt x="9084385" y="6018209"/>
                  </a:cubicBezTo>
                  <a:cubicBezTo>
                    <a:pt x="9084385" y="5927763"/>
                    <a:pt x="9011775" y="5855153"/>
                    <a:pt x="8921331" y="5855153"/>
                  </a:cubicBezTo>
                  <a:close/>
                  <a:moveTo>
                    <a:pt x="674337" y="5855153"/>
                  </a:moveTo>
                  <a:cubicBezTo>
                    <a:pt x="583892" y="5855153"/>
                    <a:pt x="511282" y="5927763"/>
                    <a:pt x="511282" y="6018209"/>
                  </a:cubicBezTo>
                  <a:cubicBezTo>
                    <a:pt x="511282" y="6108653"/>
                    <a:pt x="583892" y="6181265"/>
                    <a:pt x="674337" y="6181265"/>
                  </a:cubicBezTo>
                  <a:cubicBezTo>
                    <a:pt x="764782" y="6181265"/>
                    <a:pt x="837393" y="6108653"/>
                    <a:pt x="837393" y="6018209"/>
                  </a:cubicBezTo>
                  <a:cubicBezTo>
                    <a:pt x="837393" y="5927763"/>
                    <a:pt x="764782" y="5855153"/>
                    <a:pt x="674337" y="5855153"/>
                  </a:cubicBezTo>
                  <a:close/>
                  <a:moveTo>
                    <a:pt x="10375356" y="5854333"/>
                  </a:moveTo>
                  <a:lnTo>
                    <a:pt x="10334572" y="6121561"/>
                  </a:lnTo>
                  <a:lnTo>
                    <a:pt x="10334472" y="6121413"/>
                  </a:lnTo>
                  <a:cubicBezTo>
                    <a:pt x="10321077" y="6089706"/>
                    <a:pt x="10313672" y="6054833"/>
                    <a:pt x="10313672" y="6018209"/>
                  </a:cubicBezTo>
                  <a:cubicBezTo>
                    <a:pt x="10313672" y="5981585"/>
                    <a:pt x="10321077" y="5946713"/>
                    <a:pt x="10334472" y="5915005"/>
                  </a:cubicBezTo>
                  <a:close/>
                  <a:moveTo>
                    <a:pt x="9694571" y="5763433"/>
                  </a:moveTo>
                  <a:lnTo>
                    <a:pt x="9796481" y="5763433"/>
                  </a:lnTo>
                  <a:lnTo>
                    <a:pt x="9796481" y="6274257"/>
                  </a:lnTo>
                  <a:lnTo>
                    <a:pt x="9694571" y="6274257"/>
                  </a:lnTo>
                  <a:close/>
                  <a:moveTo>
                    <a:pt x="1447575" y="5763433"/>
                  </a:moveTo>
                  <a:lnTo>
                    <a:pt x="1549485" y="5763433"/>
                  </a:lnTo>
                  <a:lnTo>
                    <a:pt x="1549485" y="6274257"/>
                  </a:lnTo>
                  <a:lnTo>
                    <a:pt x="1447575" y="6274257"/>
                  </a:lnTo>
                  <a:close/>
                  <a:moveTo>
                    <a:pt x="8922604" y="5753243"/>
                  </a:moveTo>
                  <a:cubicBezTo>
                    <a:pt x="9069099" y="5753243"/>
                    <a:pt x="9187569" y="5871713"/>
                    <a:pt x="9187569" y="6018209"/>
                  </a:cubicBezTo>
                  <a:cubicBezTo>
                    <a:pt x="9187569" y="6164705"/>
                    <a:pt x="9069099" y="6283173"/>
                    <a:pt x="8922604" y="6283173"/>
                  </a:cubicBezTo>
                  <a:cubicBezTo>
                    <a:pt x="8776109" y="6283173"/>
                    <a:pt x="8657638" y="6164705"/>
                    <a:pt x="8657638" y="6018209"/>
                  </a:cubicBezTo>
                  <a:cubicBezTo>
                    <a:pt x="8657638" y="5871713"/>
                    <a:pt x="8776109" y="5753243"/>
                    <a:pt x="8922604" y="5753243"/>
                  </a:cubicBezTo>
                  <a:close/>
                  <a:moveTo>
                    <a:pt x="675610" y="5753243"/>
                  </a:moveTo>
                  <a:cubicBezTo>
                    <a:pt x="822108" y="5753243"/>
                    <a:pt x="940577" y="5871713"/>
                    <a:pt x="940577" y="6018209"/>
                  </a:cubicBezTo>
                  <a:cubicBezTo>
                    <a:pt x="940577" y="6164705"/>
                    <a:pt x="822108" y="6283173"/>
                    <a:pt x="675610" y="6283173"/>
                  </a:cubicBezTo>
                  <a:cubicBezTo>
                    <a:pt x="529116" y="6283173"/>
                    <a:pt x="410646" y="6164705"/>
                    <a:pt x="410646" y="6018209"/>
                  </a:cubicBezTo>
                  <a:cubicBezTo>
                    <a:pt x="410646" y="5871713"/>
                    <a:pt x="529116" y="5753243"/>
                    <a:pt x="675610" y="5753243"/>
                  </a:cubicBezTo>
                  <a:close/>
                  <a:moveTo>
                    <a:pt x="9489477" y="5143057"/>
                  </a:moveTo>
                  <a:lnTo>
                    <a:pt x="10000300" y="5143057"/>
                  </a:lnTo>
                  <a:lnTo>
                    <a:pt x="10000300" y="5244969"/>
                  </a:lnTo>
                  <a:lnTo>
                    <a:pt x="9489477" y="5244969"/>
                  </a:lnTo>
                  <a:close/>
                  <a:moveTo>
                    <a:pt x="8706634" y="5143057"/>
                  </a:moveTo>
                  <a:lnTo>
                    <a:pt x="9176104" y="5143057"/>
                  </a:lnTo>
                  <a:lnTo>
                    <a:pt x="9176104" y="5244969"/>
                  </a:lnTo>
                  <a:lnTo>
                    <a:pt x="8707060" y="5244969"/>
                  </a:lnTo>
                  <a:lnTo>
                    <a:pt x="8709420" y="5198237"/>
                  </a:lnTo>
                  <a:close/>
                  <a:moveTo>
                    <a:pt x="1242485" y="5143057"/>
                  </a:moveTo>
                  <a:lnTo>
                    <a:pt x="1714449" y="5143057"/>
                  </a:lnTo>
                  <a:lnTo>
                    <a:pt x="1711662" y="5198237"/>
                  </a:lnTo>
                  <a:lnTo>
                    <a:pt x="1714022" y="5244969"/>
                  </a:lnTo>
                  <a:lnTo>
                    <a:pt x="1242485" y="5244969"/>
                  </a:lnTo>
                  <a:close/>
                  <a:moveTo>
                    <a:pt x="2787" y="5143057"/>
                  </a:moveTo>
                  <a:lnTo>
                    <a:pt x="97302" y="5143057"/>
                  </a:lnTo>
                  <a:lnTo>
                    <a:pt x="97302" y="5244969"/>
                  </a:lnTo>
                  <a:lnTo>
                    <a:pt x="2360" y="5244969"/>
                  </a:lnTo>
                  <a:lnTo>
                    <a:pt x="0" y="5198237"/>
                  </a:lnTo>
                  <a:close/>
                  <a:moveTo>
                    <a:pt x="623389" y="4939239"/>
                  </a:moveTo>
                  <a:lnTo>
                    <a:pt x="725299" y="4939239"/>
                  </a:lnTo>
                  <a:lnTo>
                    <a:pt x="725299" y="5450061"/>
                  </a:lnTo>
                  <a:lnTo>
                    <a:pt x="623389" y="5450061"/>
                  </a:lnTo>
                  <a:close/>
                  <a:moveTo>
                    <a:pt x="86723" y="4273524"/>
                  </a:moveTo>
                  <a:lnTo>
                    <a:pt x="106218" y="4371093"/>
                  </a:lnTo>
                  <a:cubicBezTo>
                    <a:pt x="106218" y="4407717"/>
                    <a:pt x="98813" y="4442589"/>
                    <a:pt x="85418" y="4474296"/>
                  </a:cubicBezTo>
                  <a:lnTo>
                    <a:pt x="47492" y="4530579"/>
                  </a:lnTo>
                  <a:close/>
                  <a:moveTo>
                    <a:pt x="9745526" y="4208037"/>
                  </a:moveTo>
                  <a:cubicBezTo>
                    <a:pt x="9655081" y="4208037"/>
                    <a:pt x="9582469" y="4280647"/>
                    <a:pt x="9582469" y="4371093"/>
                  </a:cubicBezTo>
                  <a:cubicBezTo>
                    <a:pt x="9582469" y="4461537"/>
                    <a:pt x="9655081" y="4534147"/>
                    <a:pt x="9745526" y="4534147"/>
                  </a:cubicBezTo>
                  <a:cubicBezTo>
                    <a:pt x="9835970" y="4534147"/>
                    <a:pt x="9908582" y="4461537"/>
                    <a:pt x="9908582" y="4371093"/>
                  </a:cubicBezTo>
                  <a:cubicBezTo>
                    <a:pt x="9908582" y="4280647"/>
                    <a:pt x="9835970" y="4208037"/>
                    <a:pt x="9745526" y="4208037"/>
                  </a:cubicBezTo>
                  <a:close/>
                  <a:moveTo>
                    <a:pt x="1498539" y="4208037"/>
                  </a:moveTo>
                  <a:cubicBezTo>
                    <a:pt x="1408093" y="4208037"/>
                    <a:pt x="1335482" y="4280647"/>
                    <a:pt x="1335482" y="4371093"/>
                  </a:cubicBezTo>
                  <a:cubicBezTo>
                    <a:pt x="1335482" y="4461537"/>
                    <a:pt x="1408093" y="4534147"/>
                    <a:pt x="1498539" y="4534147"/>
                  </a:cubicBezTo>
                  <a:cubicBezTo>
                    <a:pt x="1588983" y="4534147"/>
                    <a:pt x="1661593" y="4461537"/>
                    <a:pt x="1661593" y="4371093"/>
                  </a:cubicBezTo>
                  <a:cubicBezTo>
                    <a:pt x="1661593" y="4280647"/>
                    <a:pt x="1588983" y="4208037"/>
                    <a:pt x="1498539" y="4208037"/>
                  </a:cubicBezTo>
                  <a:close/>
                  <a:moveTo>
                    <a:pt x="8870376" y="4115043"/>
                  </a:moveTo>
                  <a:lnTo>
                    <a:pt x="8972285" y="4115043"/>
                  </a:lnTo>
                  <a:lnTo>
                    <a:pt x="8972285" y="4625865"/>
                  </a:lnTo>
                  <a:lnTo>
                    <a:pt x="8870376" y="4625865"/>
                  </a:lnTo>
                  <a:close/>
                  <a:moveTo>
                    <a:pt x="623387" y="4115043"/>
                  </a:moveTo>
                  <a:lnTo>
                    <a:pt x="725297" y="4115043"/>
                  </a:lnTo>
                  <a:lnTo>
                    <a:pt x="725297" y="4625865"/>
                  </a:lnTo>
                  <a:lnTo>
                    <a:pt x="623387" y="4625865"/>
                  </a:lnTo>
                  <a:close/>
                  <a:moveTo>
                    <a:pt x="9744252" y="4106125"/>
                  </a:moveTo>
                  <a:cubicBezTo>
                    <a:pt x="9890747" y="4106125"/>
                    <a:pt x="10009217" y="4224597"/>
                    <a:pt x="10009217" y="4371093"/>
                  </a:cubicBezTo>
                  <a:cubicBezTo>
                    <a:pt x="10009217" y="4517587"/>
                    <a:pt x="9890747" y="4636057"/>
                    <a:pt x="9744252" y="4636057"/>
                  </a:cubicBezTo>
                  <a:cubicBezTo>
                    <a:pt x="9597757" y="4636057"/>
                    <a:pt x="9479286" y="4517587"/>
                    <a:pt x="9479286" y="4371093"/>
                  </a:cubicBezTo>
                  <a:cubicBezTo>
                    <a:pt x="9479286" y="4224597"/>
                    <a:pt x="9597757" y="4106125"/>
                    <a:pt x="9744252" y="4106125"/>
                  </a:cubicBezTo>
                  <a:close/>
                  <a:moveTo>
                    <a:pt x="1499812" y="4106125"/>
                  </a:moveTo>
                  <a:cubicBezTo>
                    <a:pt x="1646307" y="4106125"/>
                    <a:pt x="1764778" y="4224597"/>
                    <a:pt x="1764778" y="4371093"/>
                  </a:cubicBezTo>
                  <a:cubicBezTo>
                    <a:pt x="1764778" y="4517587"/>
                    <a:pt x="1646307" y="4636057"/>
                    <a:pt x="1499812" y="4636057"/>
                  </a:cubicBezTo>
                  <a:cubicBezTo>
                    <a:pt x="1353316" y="4634783"/>
                    <a:pt x="1234846" y="4517587"/>
                    <a:pt x="1234846" y="4371093"/>
                  </a:cubicBezTo>
                  <a:cubicBezTo>
                    <a:pt x="1234846" y="4224597"/>
                    <a:pt x="1353316" y="4106125"/>
                    <a:pt x="1499812" y="4106125"/>
                  </a:cubicBezTo>
                  <a:close/>
                  <a:moveTo>
                    <a:pt x="9489477" y="3495941"/>
                  </a:moveTo>
                  <a:lnTo>
                    <a:pt x="10000300" y="3495941"/>
                  </a:lnTo>
                  <a:lnTo>
                    <a:pt x="10000300" y="3597851"/>
                  </a:lnTo>
                  <a:lnTo>
                    <a:pt x="9489477" y="3597851"/>
                  </a:lnTo>
                  <a:close/>
                  <a:moveTo>
                    <a:pt x="2066685" y="3495941"/>
                  </a:moveTo>
                  <a:lnTo>
                    <a:pt x="2154931" y="3495941"/>
                  </a:lnTo>
                  <a:lnTo>
                    <a:pt x="2133958" y="3530464"/>
                  </a:lnTo>
                  <a:lnTo>
                    <a:pt x="2101496" y="3597851"/>
                  </a:lnTo>
                  <a:lnTo>
                    <a:pt x="2066685" y="3597851"/>
                  </a:lnTo>
                  <a:close/>
                  <a:moveTo>
                    <a:pt x="674343" y="3383841"/>
                  </a:moveTo>
                  <a:cubicBezTo>
                    <a:pt x="583899" y="3383841"/>
                    <a:pt x="511289" y="3456451"/>
                    <a:pt x="511289" y="3546897"/>
                  </a:cubicBezTo>
                  <a:cubicBezTo>
                    <a:pt x="511289" y="3637341"/>
                    <a:pt x="583899" y="3709953"/>
                    <a:pt x="674343" y="3709953"/>
                  </a:cubicBezTo>
                  <a:cubicBezTo>
                    <a:pt x="764789" y="3709953"/>
                    <a:pt x="837399" y="3637341"/>
                    <a:pt x="837399" y="3546897"/>
                  </a:cubicBezTo>
                  <a:cubicBezTo>
                    <a:pt x="837399" y="3456451"/>
                    <a:pt x="764789" y="3383841"/>
                    <a:pt x="674343" y="3383841"/>
                  </a:cubicBezTo>
                  <a:close/>
                  <a:moveTo>
                    <a:pt x="8870376" y="3292121"/>
                  </a:moveTo>
                  <a:lnTo>
                    <a:pt x="8972285" y="3292121"/>
                  </a:lnTo>
                  <a:lnTo>
                    <a:pt x="8972285" y="3802945"/>
                  </a:lnTo>
                  <a:lnTo>
                    <a:pt x="8870376" y="3802945"/>
                  </a:lnTo>
                  <a:close/>
                  <a:moveTo>
                    <a:pt x="8142327" y="3292121"/>
                  </a:moveTo>
                  <a:lnTo>
                    <a:pt x="8148089" y="3292121"/>
                  </a:lnTo>
                  <a:lnTo>
                    <a:pt x="8148089" y="3301606"/>
                  </a:lnTo>
                  <a:close/>
                  <a:moveTo>
                    <a:pt x="1447583" y="3292121"/>
                  </a:moveTo>
                  <a:lnTo>
                    <a:pt x="1549493" y="3292121"/>
                  </a:lnTo>
                  <a:lnTo>
                    <a:pt x="1549493" y="3802945"/>
                  </a:lnTo>
                  <a:lnTo>
                    <a:pt x="1447583" y="3802945"/>
                  </a:lnTo>
                  <a:close/>
                  <a:moveTo>
                    <a:pt x="675617" y="3281931"/>
                  </a:moveTo>
                  <a:cubicBezTo>
                    <a:pt x="822113" y="3281931"/>
                    <a:pt x="940583" y="3400401"/>
                    <a:pt x="940583" y="3546897"/>
                  </a:cubicBezTo>
                  <a:cubicBezTo>
                    <a:pt x="940583" y="3693393"/>
                    <a:pt x="822113" y="3811861"/>
                    <a:pt x="675617" y="3811861"/>
                  </a:cubicBezTo>
                  <a:cubicBezTo>
                    <a:pt x="529123" y="3811861"/>
                    <a:pt x="410652" y="3693393"/>
                    <a:pt x="410652" y="3546897"/>
                  </a:cubicBezTo>
                  <a:cubicBezTo>
                    <a:pt x="410652" y="3400401"/>
                    <a:pt x="529123" y="3281931"/>
                    <a:pt x="675617" y="3281931"/>
                  </a:cubicBezTo>
                  <a:close/>
                  <a:moveTo>
                    <a:pt x="1242482" y="2671745"/>
                  </a:moveTo>
                  <a:lnTo>
                    <a:pt x="1753305" y="2671745"/>
                  </a:lnTo>
                  <a:lnTo>
                    <a:pt x="1753305" y="2773657"/>
                  </a:lnTo>
                  <a:lnTo>
                    <a:pt x="1242482" y="2773657"/>
                  </a:lnTo>
                  <a:close/>
                  <a:moveTo>
                    <a:pt x="8921331" y="2560919"/>
                  </a:moveTo>
                  <a:cubicBezTo>
                    <a:pt x="8832160" y="2560919"/>
                    <a:pt x="8758275" y="2633529"/>
                    <a:pt x="8758275" y="2723975"/>
                  </a:cubicBezTo>
                  <a:cubicBezTo>
                    <a:pt x="8758275" y="2814419"/>
                    <a:pt x="8830885" y="2887029"/>
                    <a:pt x="8921331" y="2887029"/>
                  </a:cubicBezTo>
                  <a:cubicBezTo>
                    <a:pt x="9011776" y="2887029"/>
                    <a:pt x="9084386" y="2814419"/>
                    <a:pt x="9084386" y="2723975"/>
                  </a:cubicBezTo>
                  <a:cubicBezTo>
                    <a:pt x="9084386" y="2633529"/>
                    <a:pt x="9011776" y="2560919"/>
                    <a:pt x="8921331" y="2560919"/>
                  </a:cubicBezTo>
                  <a:close/>
                  <a:moveTo>
                    <a:pt x="2322726" y="2560919"/>
                  </a:moveTo>
                  <a:cubicBezTo>
                    <a:pt x="2232282" y="2560919"/>
                    <a:pt x="2159671" y="2633529"/>
                    <a:pt x="2159671" y="2723975"/>
                  </a:cubicBezTo>
                  <a:cubicBezTo>
                    <a:pt x="2159671" y="2814419"/>
                    <a:pt x="2232282" y="2887029"/>
                    <a:pt x="2322726" y="2887029"/>
                  </a:cubicBezTo>
                  <a:cubicBezTo>
                    <a:pt x="2411897" y="2885757"/>
                    <a:pt x="2485782" y="2813145"/>
                    <a:pt x="2485782" y="2723975"/>
                  </a:cubicBezTo>
                  <a:cubicBezTo>
                    <a:pt x="2485782" y="2633529"/>
                    <a:pt x="2413173" y="2560919"/>
                    <a:pt x="2322726" y="2560919"/>
                  </a:cubicBezTo>
                  <a:close/>
                  <a:moveTo>
                    <a:pt x="9694571" y="2553886"/>
                  </a:moveTo>
                  <a:lnTo>
                    <a:pt x="9792198" y="2714584"/>
                  </a:lnTo>
                  <a:lnTo>
                    <a:pt x="9796481" y="2723476"/>
                  </a:lnTo>
                  <a:lnTo>
                    <a:pt x="9796481" y="2978749"/>
                  </a:lnTo>
                  <a:lnTo>
                    <a:pt x="9694571" y="2978749"/>
                  </a:lnTo>
                  <a:close/>
                  <a:moveTo>
                    <a:pt x="772671" y="2477905"/>
                  </a:moveTo>
                  <a:lnTo>
                    <a:pt x="778813" y="2479809"/>
                  </a:lnTo>
                  <a:cubicBezTo>
                    <a:pt x="873936" y="2519996"/>
                    <a:pt x="940575" y="2614103"/>
                    <a:pt x="940575" y="2723975"/>
                  </a:cubicBezTo>
                  <a:cubicBezTo>
                    <a:pt x="940575" y="2870469"/>
                    <a:pt x="822106" y="2988941"/>
                    <a:pt x="675608" y="2988941"/>
                  </a:cubicBezTo>
                  <a:cubicBezTo>
                    <a:pt x="620673" y="2988463"/>
                    <a:pt x="569678" y="2971504"/>
                    <a:pt x="527394" y="2942835"/>
                  </a:cubicBezTo>
                  <a:lnTo>
                    <a:pt x="521341" y="2937832"/>
                  </a:lnTo>
                  <a:lnTo>
                    <a:pt x="566336" y="2844427"/>
                  </a:lnTo>
                  <a:lnTo>
                    <a:pt x="610701" y="2874271"/>
                  </a:lnTo>
                  <a:cubicBezTo>
                    <a:pt x="630227" y="2882491"/>
                    <a:pt x="651723" y="2887029"/>
                    <a:pt x="674334" y="2887029"/>
                  </a:cubicBezTo>
                  <a:cubicBezTo>
                    <a:pt x="764780" y="2885757"/>
                    <a:pt x="837390" y="2813145"/>
                    <a:pt x="837390" y="2723975"/>
                  </a:cubicBezTo>
                  <a:cubicBezTo>
                    <a:pt x="837390" y="2656141"/>
                    <a:pt x="796547" y="2598339"/>
                    <a:pt x="737968" y="2573678"/>
                  </a:cubicBezTo>
                  <a:lnTo>
                    <a:pt x="717037" y="2569481"/>
                  </a:lnTo>
                  <a:close/>
                  <a:moveTo>
                    <a:pt x="8046180" y="2467925"/>
                  </a:moveTo>
                  <a:lnTo>
                    <a:pt x="8148089" y="2467925"/>
                  </a:lnTo>
                  <a:lnTo>
                    <a:pt x="8148089" y="2978749"/>
                  </a:lnTo>
                  <a:lnTo>
                    <a:pt x="8046180" y="2978749"/>
                  </a:lnTo>
                  <a:close/>
                  <a:moveTo>
                    <a:pt x="8921331" y="2459009"/>
                  </a:moveTo>
                  <a:cubicBezTo>
                    <a:pt x="9067826" y="2459009"/>
                    <a:pt x="9186296" y="2577479"/>
                    <a:pt x="9186296" y="2723975"/>
                  </a:cubicBezTo>
                  <a:cubicBezTo>
                    <a:pt x="9186296" y="2870469"/>
                    <a:pt x="9067826" y="2988941"/>
                    <a:pt x="8921331" y="2988941"/>
                  </a:cubicBezTo>
                  <a:cubicBezTo>
                    <a:pt x="8774836" y="2988941"/>
                    <a:pt x="8656365" y="2870469"/>
                    <a:pt x="8656365" y="2723975"/>
                  </a:cubicBezTo>
                  <a:cubicBezTo>
                    <a:pt x="8656365" y="2577479"/>
                    <a:pt x="8774836" y="2459009"/>
                    <a:pt x="8921331" y="2459009"/>
                  </a:cubicBezTo>
                  <a:close/>
                  <a:moveTo>
                    <a:pt x="2322726" y="2459009"/>
                  </a:moveTo>
                  <a:cubicBezTo>
                    <a:pt x="2469222" y="2459009"/>
                    <a:pt x="2587692" y="2577479"/>
                    <a:pt x="2587692" y="2723975"/>
                  </a:cubicBezTo>
                  <a:cubicBezTo>
                    <a:pt x="2587692" y="2870469"/>
                    <a:pt x="2469222" y="2988941"/>
                    <a:pt x="2322726" y="2988941"/>
                  </a:cubicBezTo>
                  <a:cubicBezTo>
                    <a:pt x="2176232" y="2988941"/>
                    <a:pt x="2057761" y="2869197"/>
                    <a:pt x="2057761" y="2723975"/>
                  </a:cubicBezTo>
                  <a:cubicBezTo>
                    <a:pt x="2057761" y="2577479"/>
                    <a:pt x="2176232" y="2459009"/>
                    <a:pt x="2322726" y="2459009"/>
                  </a:cubicBezTo>
                  <a:close/>
                  <a:moveTo>
                    <a:pt x="7842360" y="1848825"/>
                  </a:moveTo>
                  <a:lnTo>
                    <a:pt x="8353182" y="1848825"/>
                  </a:lnTo>
                  <a:lnTo>
                    <a:pt x="8353182" y="1950733"/>
                  </a:lnTo>
                  <a:lnTo>
                    <a:pt x="7842360" y="1950733"/>
                  </a:lnTo>
                  <a:close/>
                  <a:moveTo>
                    <a:pt x="6223404" y="1848825"/>
                  </a:moveTo>
                  <a:lnTo>
                    <a:pt x="6704792" y="1848825"/>
                  </a:lnTo>
                  <a:lnTo>
                    <a:pt x="6704792" y="1950733"/>
                  </a:lnTo>
                  <a:lnTo>
                    <a:pt x="6512646" y="1950733"/>
                  </a:lnTo>
                  <a:lnTo>
                    <a:pt x="6413573" y="1911670"/>
                  </a:lnTo>
                  <a:cubicBezTo>
                    <a:pt x="6359984" y="1892049"/>
                    <a:pt x="6305781" y="1873700"/>
                    <a:pt x="6251001" y="1856662"/>
                  </a:cubicBezTo>
                  <a:close/>
                  <a:moveTo>
                    <a:pt x="2890884" y="1848825"/>
                  </a:moveTo>
                  <a:lnTo>
                    <a:pt x="3401707" y="1848825"/>
                  </a:lnTo>
                  <a:lnTo>
                    <a:pt x="3401707" y="1950733"/>
                  </a:lnTo>
                  <a:lnTo>
                    <a:pt x="2890884" y="1950733"/>
                  </a:lnTo>
                  <a:close/>
                  <a:moveTo>
                    <a:pt x="1242493" y="1848825"/>
                  </a:moveTo>
                  <a:lnTo>
                    <a:pt x="1753316" y="1848825"/>
                  </a:lnTo>
                  <a:lnTo>
                    <a:pt x="1753316" y="1950733"/>
                  </a:lnTo>
                  <a:lnTo>
                    <a:pt x="1242493" y="1950733"/>
                  </a:lnTo>
                  <a:close/>
                  <a:moveTo>
                    <a:pt x="8921331" y="1736725"/>
                  </a:moveTo>
                  <a:cubicBezTo>
                    <a:pt x="8832160" y="1736725"/>
                    <a:pt x="8758275" y="1809335"/>
                    <a:pt x="8758275" y="1899781"/>
                  </a:cubicBezTo>
                  <a:cubicBezTo>
                    <a:pt x="8758275" y="1990225"/>
                    <a:pt x="8830885" y="2062835"/>
                    <a:pt x="8921331" y="2062835"/>
                  </a:cubicBezTo>
                  <a:cubicBezTo>
                    <a:pt x="9011776" y="2062835"/>
                    <a:pt x="9084386" y="1990225"/>
                    <a:pt x="9084386" y="1899781"/>
                  </a:cubicBezTo>
                  <a:cubicBezTo>
                    <a:pt x="9084386" y="1809335"/>
                    <a:pt x="9011776" y="1736725"/>
                    <a:pt x="8921331" y="1736725"/>
                  </a:cubicBezTo>
                  <a:close/>
                  <a:moveTo>
                    <a:pt x="7223258" y="1643731"/>
                  </a:moveTo>
                  <a:lnTo>
                    <a:pt x="7325168" y="1643731"/>
                  </a:lnTo>
                  <a:lnTo>
                    <a:pt x="7325168" y="2154553"/>
                  </a:lnTo>
                  <a:lnTo>
                    <a:pt x="7223258" y="2154553"/>
                  </a:lnTo>
                  <a:close/>
                  <a:moveTo>
                    <a:pt x="2271782" y="1643731"/>
                  </a:moveTo>
                  <a:lnTo>
                    <a:pt x="2373691" y="1643731"/>
                  </a:lnTo>
                  <a:lnTo>
                    <a:pt x="2373691" y="2154553"/>
                  </a:lnTo>
                  <a:lnTo>
                    <a:pt x="2271782" y="2154553"/>
                  </a:lnTo>
                  <a:close/>
                  <a:moveTo>
                    <a:pt x="8921331" y="1634813"/>
                  </a:moveTo>
                  <a:cubicBezTo>
                    <a:pt x="8957955" y="1634813"/>
                    <a:pt x="8992827" y="1642218"/>
                    <a:pt x="9024534" y="1655614"/>
                  </a:cubicBezTo>
                  <a:lnTo>
                    <a:pt x="9036119" y="1661896"/>
                  </a:lnTo>
                  <a:lnTo>
                    <a:pt x="9067478" y="1694788"/>
                  </a:lnTo>
                  <a:lnTo>
                    <a:pt x="9168482" y="1811390"/>
                  </a:lnTo>
                  <a:lnTo>
                    <a:pt x="9186296" y="1899781"/>
                  </a:lnTo>
                  <a:cubicBezTo>
                    <a:pt x="9186296" y="2046275"/>
                    <a:pt x="9067826" y="2164745"/>
                    <a:pt x="8921331" y="2164745"/>
                  </a:cubicBezTo>
                  <a:cubicBezTo>
                    <a:pt x="8774836" y="2164745"/>
                    <a:pt x="8656365" y="2046275"/>
                    <a:pt x="8656365" y="1899781"/>
                  </a:cubicBezTo>
                  <a:cubicBezTo>
                    <a:pt x="8656365" y="1753285"/>
                    <a:pt x="8774836" y="1634813"/>
                    <a:pt x="8921331" y="1634813"/>
                  </a:cubicBezTo>
                  <a:close/>
                  <a:moveTo>
                    <a:pt x="3969851" y="1634813"/>
                  </a:moveTo>
                  <a:cubicBezTo>
                    <a:pt x="4079723" y="1634813"/>
                    <a:pt x="4173831" y="1701454"/>
                    <a:pt x="4214017" y="1796577"/>
                  </a:cubicBezTo>
                  <a:lnTo>
                    <a:pt x="4223093" y="1841608"/>
                  </a:lnTo>
                  <a:lnTo>
                    <a:pt x="4170081" y="1856662"/>
                  </a:lnTo>
                  <a:lnTo>
                    <a:pt x="4127174" y="1871180"/>
                  </a:lnTo>
                  <a:lnTo>
                    <a:pt x="4120150" y="1836147"/>
                  </a:lnTo>
                  <a:cubicBezTo>
                    <a:pt x="4095488" y="1777568"/>
                    <a:pt x="4037686" y="1736725"/>
                    <a:pt x="3969851" y="1736725"/>
                  </a:cubicBezTo>
                  <a:cubicBezTo>
                    <a:pt x="3880680" y="1736725"/>
                    <a:pt x="3806796" y="1809335"/>
                    <a:pt x="3806796" y="1899781"/>
                  </a:cubicBezTo>
                  <a:cubicBezTo>
                    <a:pt x="3806796" y="1922392"/>
                    <a:pt x="3811334" y="1943889"/>
                    <a:pt x="3819555" y="1963414"/>
                  </a:cubicBezTo>
                  <a:lnTo>
                    <a:pt x="3832208" y="1982224"/>
                  </a:lnTo>
                  <a:lnTo>
                    <a:pt x="3741230" y="2026051"/>
                  </a:lnTo>
                  <a:lnTo>
                    <a:pt x="3725686" y="2002984"/>
                  </a:lnTo>
                  <a:cubicBezTo>
                    <a:pt x="3712291" y="1971277"/>
                    <a:pt x="3704886" y="1936405"/>
                    <a:pt x="3704886" y="1899781"/>
                  </a:cubicBezTo>
                  <a:cubicBezTo>
                    <a:pt x="3704886" y="1753285"/>
                    <a:pt x="3823356" y="1634813"/>
                    <a:pt x="3969851" y="1634813"/>
                  </a:cubicBezTo>
                  <a:close/>
                  <a:moveTo>
                    <a:pt x="7842360" y="1024629"/>
                  </a:moveTo>
                  <a:lnTo>
                    <a:pt x="8330359" y="1024629"/>
                  </a:lnTo>
                  <a:lnTo>
                    <a:pt x="8353182" y="1042565"/>
                  </a:lnTo>
                  <a:lnTo>
                    <a:pt x="8353182" y="1126539"/>
                  </a:lnTo>
                  <a:lnTo>
                    <a:pt x="7842360" y="1126539"/>
                  </a:lnTo>
                  <a:close/>
                  <a:moveTo>
                    <a:pt x="5371048" y="1024629"/>
                  </a:moveTo>
                  <a:lnTo>
                    <a:pt x="5881870" y="1024629"/>
                  </a:lnTo>
                  <a:lnTo>
                    <a:pt x="5881870" y="1126539"/>
                  </a:lnTo>
                  <a:lnTo>
                    <a:pt x="5371048" y="1126539"/>
                  </a:lnTo>
                  <a:close/>
                  <a:moveTo>
                    <a:pt x="4538001" y="1024629"/>
                  </a:moveTo>
                  <a:lnTo>
                    <a:pt x="5048825" y="1024629"/>
                  </a:lnTo>
                  <a:lnTo>
                    <a:pt x="5048825" y="1126539"/>
                  </a:lnTo>
                  <a:lnTo>
                    <a:pt x="4538001" y="1126539"/>
                  </a:lnTo>
                  <a:close/>
                  <a:moveTo>
                    <a:pt x="2890886" y="1024629"/>
                  </a:moveTo>
                  <a:lnTo>
                    <a:pt x="3401709" y="1024629"/>
                  </a:lnTo>
                  <a:lnTo>
                    <a:pt x="3401709" y="1126539"/>
                  </a:lnTo>
                  <a:lnTo>
                    <a:pt x="2890886" y="1126539"/>
                  </a:lnTo>
                  <a:close/>
                  <a:moveTo>
                    <a:pt x="6450017" y="912529"/>
                  </a:moveTo>
                  <a:cubicBezTo>
                    <a:pt x="6359572" y="912529"/>
                    <a:pt x="6286962" y="985139"/>
                    <a:pt x="6286962" y="1075585"/>
                  </a:cubicBezTo>
                  <a:cubicBezTo>
                    <a:pt x="6286962" y="1166029"/>
                    <a:pt x="6359572" y="1238639"/>
                    <a:pt x="6450017" y="1238639"/>
                  </a:cubicBezTo>
                  <a:cubicBezTo>
                    <a:pt x="6540463" y="1238639"/>
                    <a:pt x="6613073" y="1166029"/>
                    <a:pt x="6613073" y="1075585"/>
                  </a:cubicBezTo>
                  <a:cubicBezTo>
                    <a:pt x="6613073" y="985139"/>
                    <a:pt x="6540463" y="912529"/>
                    <a:pt x="6450017" y="912529"/>
                  </a:cubicBezTo>
                  <a:close/>
                  <a:moveTo>
                    <a:pt x="2373692" y="828587"/>
                  </a:moveTo>
                  <a:lnTo>
                    <a:pt x="2373692" y="1331633"/>
                  </a:lnTo>
                  <a:lnTo>
                    <a:pt x="2271782" y="1331633"/>
                  </a:lnTo>
                  <a:lnTo>
                    <a:pt x="2271782" y="895706"/>
                  </a:lnTo>
                  <a:lnTo>
                    <a:pt x="2297278" y="877575"/>
                  </a:lnTo>
                  <a:close/>
                  <a:moveTo>
                    <a:pt x="7223258" y="820809"/>
                  </a:moveTo>
                  <a:lnTo>
                    <a:pt x="7325168" y="820809"/>
                  </a:lnTo>
                  <a:lnTo>
                    <a:pt x="7325168" y="1331633"/>
                  </a:lnTo>
                  <a:lnTo>
                    <a:pt x="7223258" y="1331633"/>
                  </a:lnTo>
                  <a:close/>
                  <a:moveTo>
                    <a:pt x="3918899" y="820809"/>
                  </a:moveTo>
                  <a:lnTo>
                    <a:pt x="4020808" y="820809"/>
                  </a:lnTo>
                  <a:lnTo>
                    <a:pt x="4020808" y="1331633"/>
                  </a:lnTo>
                  <a:lnTo>
                    <a:pt x="3918899" y="1331633"/>
                  </a:lnTo>
                  <a:close/>
                  <a:moveTo>
                    <a:pt x="6451292" y="810617"/>
                  </a:moveTo>
                  <a:cubicBezTo>
                    <a:pt x="6597788" y="810617"/>
                    <a:pt x="6716257" y="929089"/>
                    <a:pt x="6716257" y="1075585"/>
                  </a:cubicBezTo>
                  <a:cubicBezTo>
                    <a:pt x="6716257" y="1222079"/>
                    <a:pt x="6597788" y="1340549"/>
                    <a:pt x="6451292" y="1340549"/>
                  </a:cubicBezTo>
                  <a:cubicBezTo>
                    <a:pt x="6303522" y="1340549"/>
                    <a:pt x="6186326" y="1222079"/>
                    <a:pt x="6186326" y="1075585"/>
                  </a:cubicBezTo>
                  <a:cubicBezTo>
                    <a:pt x="6186326" y="929089"/>
                    <a:pt x="6304797" y="810617"/>
                    <a:pt x="6451292" y="810617"/>
                  </a:cubicBezTo>
                  <a:close/>
                  <a:moveTo>
                    <a:pt x="6399063" y="125503"/>
                  </a:moveTo>
                  <a:lnTo>
                    <a:pt x="6500973" y="149024"/>
                  </a:lnTo>
                  <a:lnTo>
                    <a:pt x="6500973" y="508711"/>
                  </a:lnTo>
                  <a:lnTo>
                    <a:pt x="6399063" y="508711"/>
                  </a:lnTo>
                  <a:close/>
                  <a:moveTo>
                    <a:pt x="4743094" y="101073"/>
                  </a:moveTo>
                  <a:lnTo>
                    <a:pt x="4845004" y="101073"/>
                  </a:lnTo>
                  <a:lnTo>
                    <a:pt x="4845004" y="508711"/>
                  </a:lnTo>
                  <a:lnTo>
                    <a:pt x="4743094" y="508711"/>
                  </a:lnTo>
                  <a:close/>
                  <a:moveTo>
                    <a:pt x="4174642" y="91020"/>
                  </a:moveTo>
                  <a:lnTo>
                    <a:pt x="4214021" y="149458"/>
                  </a:lnTo>
                  <a:cubicBezTo>
                    <a:pt x="4227416" y="181166"/>
                    <a:pt x="4234820" y="216038"/>
                    <a:pt x="4234820" y="252661"/>
                  </a:cubicBezTo>
                  <a:cubicBezTo>
                    <a:pt x="4234820" y="399157"/>
                    <a:pt x="4116350" y="517629"/>
                    <a:pt x="3969854" y="517629"/>
                  </a:cubicBezTo>
                  <a:cubicBezTo>
                    <a:pt x="3823359" y="517629"/>
                    <a:pt x="3704889" y="399157"/>
                    <a:pt x="3704889" y="252661"/>
                  </a:cubicBezTo>
                  <a:lnTo>
                    <a:pt x="3714113" y="206895"/>
                  </a:lnTo>
                  <a:lnTo>
                    <a:pt x="3829928" y="174007"/>
                  </a:lnTo>
                  <a:lnTo>
                    <a:pt x="3819737" y="189028"/>
                  </a:lnTo>
                  <a:cubicBezTo>
                    <a:pt x="3811417" y="208554"/>
                    <a:pt x="3806799" y="230050"/>
                    <a:pt x="3806799" y="252661"/>
                  </a:cubicBezTo>
                  <a:cubicBezTo>
                    <a:pt x="3806799" y="343107"/>
                    <a:pt x="3879410" y="415717"/>
                    <a:pt x="3969854" y="415717"/>
                  </a:cubicBezTo>
                  <a:cubicBezTo>
                    <a:pt x="4060300" y="415717"/>
                    <a:pt x="4132911" y="343107"/>
                    <a:pt x="4132911" y="252661"/>
                  </a:cubicBezTo>
                  <a:cubicBezTo>
                    <a:pt x="4132911" y="207439"/>
                    <a:pt x="4114759" y="166676"/>
                    <a:pt x="4085300" y="137218"/>
                  </a:cubicBezTo>
                  <a:lnTo>
                    <a:pt x="4056168" y="117622"/>
                  </a:lnTo>
                  <a:lnTo>
                    <a:pt x="4160436" y="93557"/>
                  </a:lnTo>
                  <a:close/>
                  <a:moveTo>
                    <a:pt x="5625822" y="89607"/>
                  </a:moveTo>
                  <a:cubicBezTo>
                    <a:pt x="5535377" y="89607"/>
                    <a:pt x="5462766" y="162217"/>
                    <a:pt x="5462766" y="252661"/>
                  </a:cubicBezTo>
                  <a:cubicBezTo>
                    <a:pt x="5462766" y="343107"/>
                    <a:pt x="5535377" y="415717"/>
                    <a:pt x="5625822" y="415717"/>
                  </a:cubicBezTo>
                  <a:cubicBezTo>
                    <a:pt x="5716267" y="414445"/>
                    <a:pt x="5788878" y="341833"/>
                    <a:pt x="5788878" y="252661"/>
                  </a:cubicBezTo>
                  <a:cubicBezTo>
                    <a:pt x="5788878" y="162217"/>
                    <a:pt x="5716267" y="89607"/>
                    <a:pt x="5625822" y="89607"/>
                  </a:cubicBezTo>
                  <a:close/>
                  <a:moveTo>
                    <a:pt x="5551305" y="0"/>
                  </a:moveTo>
                  <a:lnTo>
                    <a:pt x="5741268" y="14445"/>
                  </a:lnTo>
                  <a:lnTo>
                    <a:pt x="5775311" y="32907"/>
                  </a:lnTo>
                  <a:cubicBezTo>
                    <a:pt x="5845785" y="80491"/>
                    <a:pt x="5892062" y="161102"/>
                    <a:pt x="5892062" y="252661"/>
                  </a:cubicBezTo>
                  <a:cubicBezTo>
                    <a:pt x="5892062" y="399157"/>
                    <a:pt x="5773592" y="517629"/>
                    <a:pt x="5627096" y="517629"/>
                  </a:cubicBezTo>
                  <a:cubicBezTo>
                    <a:pt x="5480601" y="516353"/>
                    <a:pt x="5362131" y="397885"/>
                    <a:pt x="5362131" y="252661"/>
                  </a:cubicBezTo>
                  <a:cubicBezTo>
                    <a:pt x="5362131" y="142791"/>
                    <a:pt x="5428771" y="48684"/>
                    <a:pt x="5523893" y="8497"/>
                  </a:cubicBez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0"/>
                    <a:alpha val="15000"/>
                  </a:schemeClr>
                </a:gs>
                <a:gs pos="67000">
                  <a:schemeClr val="accent1">
                    <a:lumMod val="50000"/>
                    <a:alpha val="0"/>
                  </a:schemeClr>
                </a:gs>
              </a:gsLst>
              <a:lin ang="18900000" scaled="0"/>
            </a:gradFill>
            <a:ln w="127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F4C4F85-C309-574F-B783-E31E86C0732C}"/>
                </a:ext>
              </a:extLst>
            </p:cNvPr>
            <p:cNvSpPr/>
            <p:nvPr userDrawn="1"/>
          </p:nvSpPr>
          <p:spPr>
            <a:xfrm>
              <a:off x="8863816" y="629287"/>
              <a:ext cx="58844" cy="16196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1BF5B5-5385-4751-B995-8EAAC096B3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961248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1BF5B5-5385-4751-B995-8EAAC096B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A7115F-8C8B-4AA3-8514-E327AB46B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6739157" y="6598599"/>
            <a:ext cx="1638468" cy="317121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2BE36A3-04CD-DA49-89B1-6B4E9759C8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4537" y="744223"/>
            <a:ext cx="6679261" cy="1551940"/>
          </a:xfrm>
        </p:spPr>
        <p:txBody>
          <a:bodyPr lIns="36000" rIns="0" anchor="ctr">
            <a:noAutofit/>
          </a:bodyPr>
          <a:lstStyle>
            <a:lvl1pPr algn="r">
              <a:defRPr lang="en-GB" sz="360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 dirty="0"/>
              <a:t>Title block</a:t>
            </a:r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FAA6472-8296-5044-B333-6072633219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20105" y="2528624"/>
            <a:ext cx="4983692" cy="481405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Date</a:t>
            </a:r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F8A7BD-50BC-AA46-A6B2-58A41B36465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131271" y="3485078"/>
            <a:ext cx="5075106" cy="7125049"/>
          </a:xfrm>
          <a:prstGeom prst="rect">
            <a:avLst/>
          </a:prstGeom>
          <a:effectLst>
            <a:outerShdw blurRad="2413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91872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E361E0-E5A5-4768-950B-A9901CB8E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644858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6B68A84-1147-4999-984F-3DF6D094FF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91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4481" y="2902575"/>
            <a:ext cx="6889259" cy="1463040"/>
          </a:xfrm>
        </p:spPr>
        <p:txBody>
          <a:bodyPr anchor="b">
            <a:noAutofit/>
          </a:bodyPr>
          <a:lstStyle>
            <a:lvl1pPr>
              <a:defRPr lang="en-US" sz="3600" kern="1200" noProof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4481" y="4567091"/>
            <a:ext cx="6889259" cy="12192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02A3BC-B4F1-2341-A8FD-1BDB1C600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6735101" y="6589955"/>
            <a:ext cx="1646580" cy="317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1C1C3D-4D7B-4A32-A4C1-7D171B059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121128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6F69E0-5C07-42EE-A585-1B03DEB699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9144000" cy="9144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6735101" y="6589955"/>
            <a:ext cx="1646580" cy="31712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4480" y="2907527"/>
            <a:ext cx="6974586" cy="146304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4480" y="4567091"/>
            <a:ext cx="6974586" cy="12192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1BF5B5-5385-4751-B995-8EAAC096B3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258587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A7115F-8C8B-4AA3-8514-E327AB46B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64480" y="2907527"/>
            <a:ext cx="6974586" cy="146304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664480" y="4567091"/>
            <a:ext cx="6974586" cy="12192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6739157" y="6598599"/>
            <a:ext cx="1638468" cy="3171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13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0335A86C-9264-1F4E-94BD-5D96D5C3B5B7}"/>
              </a:ext>
            </a:extLst>
          </p:cNvPr>
          <p:cNvSpPr/>
          <p:nvPr userDrawn="1"/>
        </p:nvSpPr>
        <p:spPr>
          <a:xfrm>
            <a:off x="6542386" y="2760996"/>
            <a:ext cx="2420102" cy="3226803"/>
          </a:xfrm>
          <a:prstGeom prst="ellipse">
            <a:avLst/>
          </a:prstGeom>
          <a:noFill/>
          <a:ln w="76200">
            <a:solidFill>
              <a:srgbClr val="C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C17F9A-13F6-7E4F-B750-A83983AD3A32}"/>
              </a:ext>
            </a:extLst>
          </p:cNvPr>
          <p:cNvSpPr/>
          <p:nvPr userDrawn="1"/>
        </p:nvSpPr>
        <p:spPr>
          <a:xfrm flipH="1">
            <a:off x="0" y="-62007"/>
            <a:ext cx="9144000" cy="87033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F451A63-67AF-D741-ACCA-98B0C639D03A}"/>
              </a:ext>
            </a:extLst>
          </p:cNvPr>
          <p:cNvGrpSpPr/>
          <p:nvPr userDrawn="1"/>
        </p:nvGrpSpPr>
        <p:grpSpPr>
          <a:xfrm>
            <a:off x="5870310" y="1855454"/>
            <a:ext cx="3765262" cy="5020321"/>
            <a:chOff x="5613052" y="295276"/>
            <a:chExt cx="6267488" cy="6267452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ED6D8B0D-097D-C24D-A8F7-BAACBE5646D4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2" name="Circle: Hollow 14">
              <a:extLst>
                <a:ext uri="{FF2B5EF4-FFF2-40B4-BE49-F238E27FC236}">
                  <a16:creationId xmlns:a16="http://schemas.microsoft.com/office/drawing/2014/main" id="{97F5B183-D3EC-9340-925E-06D6C18ED9A6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 dirty="0">
                <a:solidFill>
                  <a:schemeClr val="bg1"/>
                </a:solidFill>
              </a:endParaRPr>
            </a:p>
          </p:txBody>
        </p:sp>
        <p:pic>
          <p:nvPicPr>
            <p:cNvPr id="13" name="Picture 12" descr="A person sitting at a table&#10;&#10;Description automatically generated">
              <a:extLst>
                <a:ext uri="{FF2B5EF4-FFF2-40B4-BE49-F238E27FC236}">
                  <a16:creationId xmlns:a16="http://schemas.microsoft.com/office/drawing/2014/main" id="{46DC6FFC-F248-7243-9330-CA28DB647C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35387" y="745572"/>
              <a:ext cx="4021137" cy="4708591"/>
            </a:xfrm>
            <a:prstGeom prst="rect">
              <a:avLst/>
            </a:prstGeom>
            <a:effectLst/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B3EE316-850F-D945-ADE8-EF10B19F71AA}"/>
              </a:ext>
            </a:extLst>
          </p:cNvPr>
          <p:cNvSpPr/>
          <p:nvPr userDrawn="1"/>
        </p:nvSpPr>
        <p:spPr>
          <a:xfrm>
            <a:off x="336550" y="3511748"/>
            <a:ext cx="47910" cy="17582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E361E0-E5A5-4768-950B-A9901CB8E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854765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8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E361E0-E5A5-4768-950B-A9901CB8E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6B68A84-1147-4999-984F-3DF6D094FF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4482" y="2902575"/>
            <a:ext cx="5205829" cy="1687005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4482" y="4567091"/>
            <a:ext cx="5205829" cy="1405837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4452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E4E311-46EF-47A9-80CC-1BF05141CE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360805726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24" imgW="306" imgH="306" progId="TCLayout.ActiveDocument.1">
                  <p:embed/>
                </p:oleObj>
              </mc:Choice>
              <mc:Fallback>
                <p:oleObj name="think-cell Slide" r:id="rId2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84F8B3-0BD0-478F-B0AA-AC79F83A6301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</a:extLst>
          </p:cNvPr>
          <p:cNvSpPr/>
          <p:nvPr userDrawn="1"/>
        </p:nvSpPr>
        <p:spPr>
          <a:xfrm>
            <a:off x="0" y="8637559"/>
            <a:ext cx="9144000" cy="515088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</a:extLst>
          </p:cNvPr>
          <p:cNvSpPr txBox="1"/>
          <p:nvPr userDrawn="1"/>
        </p:nvSpPr>
        <p:spPr>
          <a:xfrm>
            <a:off x="1863425" y="8739721"/>
            <a:ext cx="573105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</a:t>
            </a:r>
            <a:r>
              <a:rPr lang="en-US" sz="700" b="0" i="0" kern="1200" dirty="0" err="1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Cotiviti</a:t>
            </a:r>
            <a:r>
              <a:rPr lang="en-US" sz="700" b="0" i="0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, Inc.</a:t>
            </a:r>
            <a:endParaRPr lang="en-US" sz="100" kern="120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A98AEEC-4E67-7947-AEC3-138046D4C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6" t="24742" r="7614" b="25086"/>
          <a:stretch/>
        </p:blipFill>
        <p:spPr>
          <a:xfrm>
            <a:off x="342901" y="8672146"/>
            <a:ext cx="1343227" cy="42240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86833"/>
            <a:ext cx="8458200" cy="1219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860223"/>
            <a:ext cx="8458200" cy="63757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7419" y="8689439"/>
            <a:ext cx="363682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3" r:id="rId2"/>
    <p:sldLayoutId id="2147483729" r:id="rId3"/>
    <p:sldLayoutId id="2147483730" r:id="rId4"/>
    <p:sldLayoutId id="2147483731" r:id="rId5"/>
    <p:sldLayoutId id="2147483707" r:id="rId6"/>
    <p:sldLayoutId id="2147483706" r:id="rId7"/>
    <p:sldLayoutId id="2147483705" r:id="rId8"/>
    <p:sldLayoutId id="2147483732" r:id="rId9"/>
    <p:sldLayoutId id="2147483733" r:id="rId10"/>
    <p:sldLayoutId id="2147483734" r:id="rId11"/>
    <p:sldLayoutId id="2147483675" r:id="rId12"/>
    <p:sldLayoutId id="2147483679" r:id="rId13"/>
    <p:sldLayoutId id="2147483680" r:id="rId14"/>
    <p:sldLayoutId id="2147483681" r:id="rId15"/>
    <p:sldLayoutId id="2147483711" r:id="rId16"/>
    <p:sldLayoutId id="2147483712" r:id="rId17"/>
    <p:sldLayoutId id="2147483727" r:id="rId18"/>
    <p:sldLayoutId id="2147483728" r:id="rId1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2"/>
        </a:buClr>
        <a:buSzPct val="90000"/>
        <a:buFont typeface="Arial" panose="020B0604020202020204" pitchFamily="34" charset="0"/>
        <a:buNone/>
        <a:defRPr sz="1600" b="0" kern="120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233363" indent="-231775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7525" indent="-255588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81000"/>
        <a:buFont typeface="Courier New" panose="02070309020205020404" pitchFamily="49" charset="0"/>
        <a:buChar char="o"/>
        <a:tabLst>
          <a:tab pos="51752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41363" indent="-19050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75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600"/>
        </a:spcBef>
        <a:spcAft>
          <a:spcPts val="400"/>
        </a:spcAft>
        <a:buClr>
          <a:schemeClr val="accent2"/>
        </a:buClr>
        <a:buSzPct val="70000"/>
        <a:buFont typeface="Arial"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3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chart" Target="../charts/chart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chart" Target="../charts/char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chart" Target="../charts/chart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5D2218-59D9-4D45-B0A8-D57F89270B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865123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DD3ACF4-CFCC-0C4F-897D-C01B0573768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CCV_Prepay</a:t>
            </a:r>
            <a:r>
              <a:rPr lang="en-US" dirty="0"/>
              <a:t> + OAI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193CA41-5CA8-CA40-984E-887A6D2EED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T Claim pend/pay + scoring and audi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C081F5-6189-964B-A1BC-421E7C8AB695}"/>
              </a:ext>
            </a:extLst>
          </p:cNvPr>
          <p:cNvSpPr txBox="1"/>
          <p:nvPr/>
        </p:nvSpPr>
        <p:spPr>
          <a:xfrm>
            <a:off x="344044" y="5519689"/>
            <a:ext cx="143691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5/21/2021</a:t>
            </a:r>
          </a:p>
        </p:txBody>
      </p:sp>
    </p:spTree>
    <p:extLst>
      <p:ext uri="{BB962C8B-B14F-4D97-AF65-F5344CB8AC3E}">
        <p14:creationId xmlns:p14="http://schemas.microsoft.com/office/powerpoint/2010/main" val="3911564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3CF6E1-57AD-4565-9D3A-0378A20AE6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733289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DD1C2F-222A-4088-AE39-C9BC1170CC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14300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FD8FC23-F495-FF46-90D4-D7F1E1683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tendee slide should look like thi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41D472B8-C1F0-A649-9064-45452FBBE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24F67-CBAD-41D3-B5E6-6BC398DB6FC5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5" name="Table Placeholder 8">
            <a:extLst>
              <a:ext uri="{FF2B5EF4-FFF2-40B4-BE49-F238E27FC236}">
                <a16:creationId xmlns:a16="http://schemas.microsoft.com/office/drawing/2014/main" id="{8E399808-EDED-0A42-BAEC-F953BCDF511C}"/>
              </a:ext>
            </a:extLst>
          </p:cNvPr>
          <p:cNvGraphicFramePr>
            <a:graphicFrameLocks/>
          </p:cNvGraphicFramePr>
          <p:nvPr/>
        </p:nvGraphicFramePr>
        <p:xfrm>
          <a:off x="401682" y="3009174"/>
          <a:ext cx="3948271" cy="310896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6910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57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6" name="Table Placeholder 14">
            <a:extLst>
              <a:ext uri="{FF2B5EF4-FFF2-40B4-BE49-F238E27FC236}">
                <a16:creationId xmlns:a16="http://schemas.microsoft.com/office/drawing/2014/main" id="{B6744424-DBB4-3C47-9CB1-650D90A7B191}"/>
              </a:ext>
            </a:extLst>
          </p:cNvPr>
          <p:cNvGraphicFramePr>
            <a:graphicFrameLocks/>
          </p:cNvGraphicFramePr>
          <p:nvPr/>
        </p:nvGraphicFramePr>
        <p:xfrm>
          <a:off x="4794051" y="3009174"/>
          <a:ext cx="3948271" cy="15544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6741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741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nam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148590" marT="64008" marB="6400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ttendee title</a:t>
                      </a:r>
                      <a:endParaRPr lang="en-US" sz="12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R="0" marT="64008" marB="64008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375BE83-B962-6A4B-AC6A-70236043FBE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46" b="30353"/>
          <a:stretch/>
        </p:blipFill>
        <p:spPr>
          <a:xfrm>
            <a:off x="5531280" y="2422525"/>
            <a:ext cx="2473813" cy="4186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C9EAED-8703-2746-959F-818BA3769921}"/>
              </a:ext>
            </a:extLst>
          </p:cNvPr>
          <p:cNvSpPr txBox="1"/>
          <p:nvPr/>
        </p:nvSpPr>
        <p:spPr>
          <a:xfrm>
            <a:off x="879253" y="2471839"/>
            <a:ext cx="3318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uest Company Logo Here</a:t>
            </a:r>
          </a:p>
        </p:txBody>
      </p:sp>
    </p:spTree>
    <p:extLst>
      <p:ext uri="{BB962C8B-B14F-4D97-AF65-F5344CB8AC3E}">
        <p14:creationId xmlns:p14="http://schemas.microsoft.com/office/powerpoint/2010/main" val="42430712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1086EC-8386-411F-AF67-7775D2AD16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570104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8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1672283-F0E7-4750-AE23-E4AE0CD73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14300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 charts should look like thi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24F67-CBAD-41D3-B5E6-6BC398DB6FC5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13" name="Content Placeholder 12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13360699"/>
              </p:ext>
            </p:extLst>
          </p:nvPr>
        </p:nvGraphicFramePr>
        <p:xfrm>
          <a:off x="706438" y="2441484"/>
          <a:ext cx="7731125" cy="4370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436106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BEC363D-A34B-4F78-B176-2C3EE1B982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3535365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CDA936-4D44-49D3-87DE-4CF021C6DC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14300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e charts should look like thi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24F67-CBAD-41D3-B5E6-6BC398DB6FC5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320316182"/>
              </p:ext>
            </p:extLst>
          </p:nvPr>
        </p:nvGraphicFramePr>
        <p:xfrm>
          <a:off x="2486025" y="2341200"/>
          <a:ext cx="4171950" cy="478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5854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7C0589-6AB0-4FA9-B309-999E060B13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733064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1677E0-B1E4-48B0-A2FF-E81AED19E7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14300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ughnut charts should look like thi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24F67-CBAD-41D3-B5E6-6BC398DB6FC5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1140255880"/>
              </p:ext>
            </p:extLst>
          </p:nvPr>
        </p:nvGraphicFramePr>
        <p:xfrm>
          <a:off x="2867819" y="2441484"/>
          <a:ext cx="3408363" cy="478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198111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D3B162-4218-48C8-A8B7-13A09816FA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32534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611ABC2-78BF-4D70-812F-BB52CBA5B4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14300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 charts should look like th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24F67-CBAD-41D3-B5E6-6BC398DB6FC5}" type="slidenum">
              <a:rPr lang="en-US" smtClean="0"/>
              <a:pPr/>
              <a:t>14</a:t>
            </a:fld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55915355"/>
              </p:ext>
            </p:extLst>
          </p:nvPr>
        </p:nvGraphicFramePr>
        <p:xfrm>
          <a:off x="779463" y="2603818"/>
          <a:ext cx="7585075" cy="397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245506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5890FA-7F6D-437B-82CD-197AB65DC1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474977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4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C715D4-54BE-4A84-B5EA-78A8930B3D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14300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should look like thi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24F67-CBAD-41D3-B5E6-6BC398DB6FC5}" type="slidenum">
              <a:rPr lang="en-US" smtClean="0"/>
              <a:pPr/>
              <a:t>15</a:t>
            </a:fld>
            <a:endParaRPr lang="en-US" dirty="0"/>
          </a:p>
        </p:txBody>
      </p:sp>
      <p:graphicFrame>
        <p:nvGraphicFramePr>
          <p:cNvPr id="6" name="Content Placeholder 1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41351710"/>
              </p:ext>
            </p:extLst>
          </p:nvPr>
        </p:nvGraphicFramePr>
        <p:xfrm>
          <a:off x="606018" y="2110831"/>
          <a:ext cx="8009465" cy="2431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18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18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18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18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0189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525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ext</a:t>
                      </a:r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" name="Content Placeholder 1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78786338"/>
              </p:ext>
            </p:extLst>
          </p:nvPr>
        </p:nvGraphicFramePr>
        <p:xfrm>
          <a:off x="606018" y="4888956"/>
          <a:ext cx="8009465" cy="2431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18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18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18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18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0189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525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abel</a:t>
                      </a:r>
                      <a:endParaRPr lang="en-US" sz="1400" b="0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525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82559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547602B-A90D-4331-ADC4-C4878D87D9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33199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8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47FB5B4-DE13-46A3-A667-ACC7DB050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14300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should look like thi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24F67-CBAD-41D3-B5E6-6BC398DB6FC5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4" y="3315415"/>
            <a:ext cx="9144001" cy="350107"/>
            <a:chOff x="1713" y="1906907"/>
            <a:chExt cx="12146342" cy="337397"/>
          </a:xfrm>
        </p:grpSpPr>
        <p:sp>
          <p:nvSpPr>
            <p:cNvPr id="6" name="Rectangle 5"/>
            <p:cNvSpPr/>
            <p:nvPr/>
          </p:nvSpPr>
          <p:spPr>
            <a:xfrm>
              <a:off x="1713" y="1906907"/>
              <a:ext cx="2440294" cy="33739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2001</a:t>
              </a:r>
              <a:endParaRPr lang="ms-MY" sz="140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2442007" y="1906907"/>
              <a:ext cx="2440294" cy="33739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2005</a:t>
              </a:r>
              <a:endParaRPr lang="ms-MY" sz="1400" dirty="0">
                <a:solidFill>
                  <a:schemeClr val="bg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4874292" y="1906907"/>
              <a:ext cx="2440294" cy="3373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2007</a:t>
              </a:r>
              <a:endParaRPr lang="ms-MY" sz="140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314595" y="1906907"/>
              <a:ext cx="2440294" cy="33739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2012</a:t>
              </a:r>
              <a:endParaRPr lang="ms-MY" sz="140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9754891" y="1906907"/>
              <a:ext cx="2393164" cy="33739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Present</a:t>
              </a:r>
              <a:endParaRPr lang="ms-MY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321714" y="3905919"/>
            <a:ext cx="1313679" cy="401630"/>
          </a:xfrm>
          <a:prstGeom prst="rect">
            <a:avLst/>
          </a:prstGeom>
        </p:spPr>
        <p:txBody>
          <a:bodyPr wrap="square" lIns="68562" tIns="34281" rIns="68562" bIns="34281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kern="3000" spc="22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 </a:t>
            </a:r>
            <a:br>
              <a:rPr lang="en-US" sz="1200" kern="3000" spc="22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kern="3000" spc="22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es he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57400" y="4351047"/>
            <a:ext cx="133786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cs typeface="Arial" panose="020B0604020202020204" pitchFamily="34" charset="0"/>
              </a:rPr>
              <a:t>Lorem ipsum dolor sit </a:t>
            </a:r>
            <a:r>
              <a:rPr lang="en-US" sz="900" dirty="0" err="1">
                <a:cs typeface="Arial" panose="020B0604020202020204" pitchFamily="34" charset="0"/>
              </a:rPr>
              <a:t>amet</a:t>
            </a:r>
            <a:r>
              <a:rPr lang="en-US" sz="900" dirty="0">
                <a:cs typeface="Arial" panose="020B0604020202020204" pitchFamily="34" charset="0"/>
              </a:rPr>
              <a:t>, </a:t>
            </a:r>
            <a:r>
              <a:rPr lang="en-US" sz="900" dirty="0" err="1">
                <a:cs typeface="Arial" panose="020B0604020202020204" pitchFamily="34" charset="0"/>
              </a:rPr>
              <a:t>consectetuer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adipiscing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elit</a:t>
            </a:r>
            <a:r>
              <a:rPr lang="en-US" sz="900" dirty="0">
                <a:cs typeface="Arial" panose="020B0604020202020204" pitchFamily="34" charset="0"/>
              </a:rPr>
              <a:t>, </a:t>
            </a:r>
            <a:r>
              <a:rPr lang="en-US" sz="900" dirty="0" err="1">
                <a:cs typeface="Arial" panose="020B0604020202020204" pitchFamily="34" charset="0"/>
              </a:rPr>
              <a:t>sed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diam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nonummy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nibh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euismod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tincidunt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ut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laoreet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dolore</a:t>
            </a:r>
            <a:r>
              <a:rPr lang="en-US" sz="900" dirty="0">
                <a:cs typeface="Arial" panose="020B0604020202020204" pitchFamily="34" charset="0"/>
              </a:rPr>
              <a:t> magna </a:t>
            </a:r>
            <a:r>
              <a:rPr lang="en-US" sz="900" dirty="0" err="1">
                <a:cs typeface="Arial" panose="020B0604020202020204" pitchFamily="34" charset="0"/>
              </a:rPr>
              <a:t>aliquam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erat</a:t>
            </a:r>
            <a:r>
              <a:rPr lang="en-US" sz="900" dirty="0">
                <a:cs typeface="Arial" panose="020B0604020202020204" pitchFamily="34" charset="0"/>
              </a:rPr>
              <a:t> </a:t>
            </a:r>
            <a:r>
              <a:rPr lang="en-US" sz="900" dirty="0" err="1">
                <a:cs typeface="Arial" panose="020B0604020202020204" pitchFamily="34" charset="0"/>
              </a:rPr>
              <a:t>volutpat</a:t>
            </a:r>
            <a:r>
              <a:rPr lang="en-US" sz="900" dirty="0">
                <a:cs typeface="Arial" panose="020B0604020202020204" pitchFamily="34" charset="0"/>
              </a:rPr>
              <a:t>.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081589" y="3905919"/>
            <a:ext cx="1313679" cy="401630"/>
          </a:xfrm>
          <a:prstGeom prst="rect">
            <a:avLst/>
          </a:prstGeom>
        </p:spPr>
        <p:txBody>
          <a:bodyPr wrap="square" lIns="68562" tIns="34281" rIns="68562" bIns="34281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kern="3000" spc="22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 </a:t>
            </a:r>
            <a:br>
              <a:rPr lang="en-US" sz="1200" kern="3000" spc="22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kern="3000" spc="22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es her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86200" y="4351047"/>
            <a:ext cx="133786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err="1">
                <a:cs typeface="Arial" panose="020B0604020202020204" pitchFamily="34" charset="0"/>
              </a:rPr>
              <a:t>Lore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ipsum</a:t>
            </a:r>
            <a:r>
              <a:rPr lang="en-US" sz="900">
                <a:cs typeface="Arial" panose="020B0604020202020204" pitchFamily="34" charset="0"/>
              </a:rPr>
              <a:t> dolor sit </a:t>
            </a:r>
            <a:r>
              <a:rPr lang="en-US" sz="900" err="1">
                <a:cs typeface="Arial" panose="020B0604020202020204" pitchFamily="34" charset="0"/>
              </a:rPr>
              <a:t>amet</a:t>
            </a:r>
            <a:r>
              <a:rPr lang="en-US" sz="900">
                <a:cs typeface="Arial" panose="020B0604020202020204" pitchFamily="34" charset="0"/>
              </a:rPr>
              <a:t>, </a:t>
            </a:r>
            <a:r>
              <a:rPr lang="en-US" sz="900" err="1">
                <a:cs typeface="Arial" panose="020B0604020202020204" pitchFamily="34" charset="0"/>
              </a:rPr>
              <a:t>consectetuer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adipiscing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lit</a:t>
            </a:r>
            <a:r>
              <a:rPr lang="en-US" sz="900">
                <a:cs typeface="Arial" panose="020B0604020202020204" pitchFamily="34" charset="0"/>
              </a:rPr>
              <a:t>, </a:t>
            </a:r>
            <a:r>
              <a:rPr lang="en-US" sz="900" err="1">
                <a:cs typeface="Arial" panose="020B0604020202020204" pitchFamily="34" charset="0"/>
              </a:rPr>
              <a:t>sed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dia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nonummy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nibh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uismod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tincidun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u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laoree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dolore</a:t>
            </a:r>
            <a:r>
              <a:rPr lang="en-US" sz="900">
                <a:cs typeface="Arial" panose="020B0604020202020204" pitchFamily="34" charset="0"/>
              </a:rPr>
              <a:t> magna </a:t>
            </a:r>
            <a:r>
              <a:rPr lang="en-US" sz="900" err="1">
                <a:cs typeface="Arial" panose="020B0604020202020204" pitchFamily="34" charset="0"/>
              </a:rPr>
              <a:t>aliqua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ra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volutpat</a:t>
            </a:r>
            <a:r>
              <a:rPr lang="en-US" sz="900">
                <a:cs typeface="Arial" panose="020B0604020202020204" pitchFamily="34" charset="0"/>
              </a:rPr>
              <a:t>.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910389" y="3905919"/>
            <a:ext cx="1313679" cy="401630"/>
          </a:xfrm>
          <a:prstGeom prst="rect">
            <a:avLst/>
          </a:prstGeom>
        </p:spPr>
        <p:txBody>
          <a:bodyPr wrap="square" lIns="68562" tIns="34281" rIns="68562" bIns="34281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kern="3000" spc="22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 </a:t>
            </a:r>
            <a:br>
              <a:rPr lang="en-US" sz="1200" kern="3000" spc="22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kern="3000" spc="22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es her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791200" y="4351047"/>
            <a:ext cx="133786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err="1">
                <a:cs typeface="Arial" panose="020B0604020202020204" pitchFamily="34" charset="0"/>
              </a:rPr>
              <a:t>Lore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ipsum</a:t>
            </a:r>
            <a:r>
              <a:rPr lang="en-US" sz="900">
                <a:cs typeface="Arial" panose="020B0604020202020204" pitchFamily="34" charset="0"/>
              </a:rPr>
              <a:t> dolor sit </a:t>
            </a:r>
            <a:r>
              <a:rPr lang="en-US" sz="900" err="1">
                <a:cs typeface="Arial" panose="020B0604020202020204" pitchFamily="34" charset="0"/>
              </a:rPr>
              <a:t>amet</a:t>
            </a:r>
            <a:r>
              <a:rPr lang="en-US" sz="900">
                <a:cs typeface="Arial" panose="020B0604020202020204" pitchFamily="34" charset="0"/>
              </a:rPr>
              <a:t>, </a:t>
            </a:r>
            <a:r>
              <a:rPr lang="en-US" sz="900" err="1">
                <a:cs typeface="Arial" panose="020B0604020202020204" pitchFamily="34" charset="0"/>
              </a:rPr>
              <a:t>consectetuer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adipiscing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lit</a:t>
            </a:r>
            <a:r>
              <a:rPr lang="en-US" sz="900">
                <a:cs typeface="Arial" panose="020B0604020202020204" pitchFamily="34" charset="0"/>
              </a:rPr>
              <a:t>, </a:t>
            </a:r>
            <a:r>
              <a:rPr lang="en-US" sz="900" err="1">
                <a:cs typeface="Arial" panose="020B0604020202020204" pitchFamily="34" charset="0"/>
              </a:rPr>
              <a:t>sed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dia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nonummy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nibh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uismod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tincidun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u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laoree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dolore</a:t>
            </a:r>
            <a:r>
              <a:rPr lang="en-US" sz="900">
                <a:cs typeface="Arial" panose="020B0604020202020204" pitchFamily="34" charset="0"/>
              </a:rPr>
              <a:t> magna </a:t>
            </a:r>
            <a:r>
              <a:rPr lang="en-US" sz="900" err="1">
                <a:cs typeface="Arial" panose="020B0604020202020204" pitchFamily="34" charset="0"/>
              </a:rPr>
              <a:t>aliqua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ra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volutpat</a:t>
            </a:r>
            <a:r>
              <a:rPr lang="en-US" sz="900">
                <a:cs typeface="Arial" panose="020B0604020202020204" pitchFamily="34" charset="0"/>
              </a:rPr>
              <a:t>.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815389" y="3905919"/>
            <a:ext cx="1313679" cy="401630"/>
          </a:xfrm>
          <a:prstGeom prst="rect">
            <a:avLst/>
          </a:prstGeom>
        </p:spPr>
        <p:txBody>
          <a:bodyPr wrap="square" lIns="68562" tIns="34281" rIns="68562" bIns="34281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kern="3000" spc="2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 </a:t>
            </a:r>
            <a:br>
              <a:rPr lang="en-US" sz="1200" kern="3000" spc="2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kern="3000" spc="2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es her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19614" y="4351047"/>
            <a:ext cx="133786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err="1">
                <a:cs typeface="Arial" panose="020B0604020202020204" pitchFamily="34" charset="0"/>
              </a:rPr>
              <a:t>Lore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ipsum</a:t>
            </a:r>
            <a:r>
              <a:rPr lang="en-US" sz="900">
                <a:cs typeface="Arial" panose="020B0604020202020204" pitchFamily="34" charset="0"/>
              </a:rPr>
              <a:t> dolor sit </a:t>
            </a:r>
            <a:r>
              <a:rPr lang="en-US" sz="900" err="1">
                <a:cs typeface="Arial" panose="020B0604020202020204" pitchFamily="34" charset="0"/>
              </a:rPr>
              <a:t>amet</a:t>
            </a:r>
            <a:r>
              <a:rPr lang="en-US" sz="900">
                <a:cs typeface="Arial" panose="020B0604020202020204" pitchFamily="34" charset="0"/>
              </a:rPr>
              <a:t>, </a:t>
            </a:r>
            <a:r>
              <a:rPr lang="en-US" sz="900" err="1">
                <a:cs typeface="Arial" panose="020B0604020202020204" pitchFamily="34" charset="0"/>
              </a:rPr>
              <a:t>consectetuer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adipiscing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lit</a:t>
            </a:r>
            <a:r>
              <a:rPr lang="en-US" sz="900">
                <a:cs typeface="Arial" panose="020B0604020202020204" pitchFamily="34" charset="0"/>
              </a:rPr>
              <a:t>, </a:t>
            </a:r>
            <a:r>
              <a:rPr lang="en-US" sz="900" err="1">
                <a:cs typeface="Arial" panose="020B0604020202020204" pitchFamily="34" charset="0"/>
              </a:rPr>
              <a:t>sed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dia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nonummy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nibh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uismod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tincidun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u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laoree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dolore</a:t>
            </a:r>
            <a:r>
              <a:rPr lang="en-US" sz="900">
                <a:cs typeface="Arial" panose="020B0604020202020204" pitchFamily="34" charset="0"/>
              </a:rPr>
              <a:t> magna </a:t>
            </a:r>
            <a:r>
              <a:rPr lang="en-US" sz="900" err="1">
                <a:cs typeface="Arial" panose="020B0604020202020204" pitchFamily="34" charset="0"/>
              </a:rPr>
              <a:t>aliqua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ra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volutpat</a:t>
            </a:r>
            <a:r>
              <a:rPr lang="en-US" sz="900">
                <a:cs typeface="Arial" panose="020B0604020202020204" pitchFamily="34" charset="0"/>
              </a:rPr>
              <a:t>. 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543803" y="3905919"/>
            <a:ext cx="1313679" cy="401630"/>
          </a:xfrm>
          <a:prstGeom prst="rect">
            <a:avLst/>
          </a:prstGeom>
        </p:spPr>
        <p:txBody>
          <a:bodyPr wrap="square" lIns="68562" tIns="34281" rIns="68562" bIns="34281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kern="3000" spc="22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 </a:t>
            </a:r>
            <a:br>
              <a:rPr lang="en-US" sz="1200" kern="3000" spc="22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kern="3000" spc="22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es her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21713" y="4351047"/>
            <a:ext cx="133786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err="1">
                <a:cs typeface="Arial" panose="020B0604020202020204" pitchFamily="34" charset="0"/>
              </a:rPr>
              <a:t>Lore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ipsum</a:t>
            </a:r>
            <a:r>
              <a:rPr lang="en-US" sz="900">
                <a:cs typeface="Arial" panose="020B0604020202020204" pitchFamily="34" charset="0"/>
              </a:rPr>
              <a:t> dolor sit </a:t>
            </a:r>
            <a:r>
              <a:rPr lang="en-US" sz="900" err="1">
                <a:cs typeface="Arial" panose="020B0604020202020204" pitchFamily="34" charset="0"/>
              </a:rPr>
              <a:t>amet</a:t>
            </a:r>
            <a:r>
              <a:rPr lang="en-US" sz="900">
                <a:cs typeface="Arial" panose="020B0604020202020204" pitchFamily="34" charset="0"/>
              </a:rPr>
              <a:t>, </a:t>
            </a:r>
            <a:r>
              <a:rPr lang="en-US" sz="900" err="1">
                <a:cs typeface="Arial" panose="020B0604020202020204" pitchFamily="34" charset="0"/>
              </a:rPr>
              <a:t>consectetuer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adipiscing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lit</a:t>
            </a:r>
            <a:r>
              <a:rPr lang="en-US" sz="900">
                <a:cs typeface="Arial" panose="020B0604020202020204" pitchFamily="34" charset="0"/>
              </a:rPr>
              <a:t>, </a:t>
            </a:r>
            <a:r>
              <a:rPr lang="en-US" sz="900" err="1">
                <a:cs typeface="Arial" panose="020B0604020202020204" pitchFamily="34" charset="0"/>
              </a:rPr>
              <a:t>sed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dia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nonummy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nibh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uismod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tincidun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u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laoree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dolore</a:t>
            </a:r>
            <a:r>
              <a:rPr lang="en-US" sz="900">
                <a:cs typeface="Arial" panose="020B0604020202020204" pitchFamily="34" charset="0"/>
              </a:rPr>
              <a:t> magna </a:t>
            </a:r>
            <a:r>
              <a:rPr lang="en-US" sz="900" err="1">
                <a:cs typeface="Arial" panose="020B0604020202020204" pitchFamily="34" charset="0"/>
              </a:rPr>
              <a:t>aliquam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erat</a:t>
            </a:r>
            <a:r>
              <a:rPr lang="en-US" sz="900">
                <a:cs typeface="Arial" panose="020B0604020202020204" pitchFamily="34" charset="0"/>
              </a:rPr>
              <a:t> </a:t>
            </a:r>
            <a:r>
              <a:rPr lang="en-US" sz="900" err="1">
                <a:cs typeface="Arial" panose="020B0604020202020204" pitchFamily="34" charset="0"/>
              </a:rPr>
              <a:t>volutpat</a:t>
            </a:r>
            <a:r>
              <a:rPr lang="en-US" sz="900"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7359272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4EEBE3-A490-48D5-AE3E-1912FDAD39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280336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D255A9C-6AFC-354C-A817-C93157D82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489738-B23A-444C-ADA3-6BD128B856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96AF35-B7ED-8048-AFF7-47D8EA41621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80464" y="7659689"/>
            <a:ext cx="363537" cy="274637"/>
          </a:xfrm>
        </p:spPr>
        <p:txBody>
          <a:bodyPr/>
          <a:lstStyle/>
          <a:p>
            <a:fld id="{8BC64C03-9EC0-4B7E-8FE4-24DBF62E63E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2181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C5E895-062E-4F7C-889D-8DE04A977F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663393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1974E4-D6B1-C44E-8464-7E600A4DC3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77EEAC-84DF-9C4A-9FA9-11BA48781D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1748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2764831-40CF-4577-BD65-B69F48EAD9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180938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FF50C84-36D8-444B-973B-F4A6C25AC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F72768-748C-0348-9690-B5D93EE9AA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16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A2F82C7F-5A86-664B-A9DA-55F4704DBCE3}"/>
              </a:ext>
            </a:extLst>
          </p:cNvPr>
          <p:cNvSpPr/>
          <p:nvPr/>
        </p:nvSpPr>
        <p:spPr>
          <a:xfrm>
            <a:off x="0" y="6725411"/>
            <a:ext cx="3878338" cy="1655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348EE6-C123-4377-8DA6-B377A5237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866648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71D193A1-AAED-2442-9E0A-9F9EAFD4ED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08279" y="1051447"/>
            <a:ext cx="4977970" cy="524162"/>
          </a:xfrm>
        </p:spPr>
        <p:txBody>
          <a:bodyPr/>
          <a:lstStyle/>
          <a:p>
            <a:r>
              <a:rPr lang="en-US" sz="4000" dirty="0"/>
              <a:t>Process Diagra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395FB2-8B2B-4341-9BD5-54D732F4FF7C}"/>
              </a:ext>
            </a:extLst>
          </p:cNvPr>
          <p:cNvSpPr txBox="1"/>
          <p:nvPr/>
        </p:nvSpPr>
        <p:spPr>
          <a:xfrm>
            <a:off x="770562" y="1277479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FC3D0AC-BE84-024D-B2D9-69DB134FEF3C}"/>
              </a:ext>
            </a:extLst>
          </p:cNvPr>
          <p:cNvSpPr/>
          <p:nvPr/>
        </p:nvSpPr>
        <p:spPr>
          <a:xfrm>
            <a:off x="205483" y="5274127"/>
            <a:ext cx="3102796" cy="1376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56EE9FF-2727-8848-A186-A898A8DBE1FE}"/>
              </a:ext>
            </a:extLst>
          </p:cNvPr>
          <p:cNvSpPr/>
          <p:nvPr/>
        </p:nvSpPr>
        <p:spPr>
          <a:xfrm rot="16200000">
            <a:off x="-541962" y="3154226"/>
            <a:ext cx="1494890" cy="38528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ule ENG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C04F7732-9A46-7940-B166-5C5260D0C1E4}"/>
              </a:ext>
            </a:extLst>
          </p:cNvPr>
          <p:cNvSpPr/>
          <p:nvPr/>
        </p:nvSpPr>
        <p:spPr>
          <a:xfrm rot="16200000">
            <a:off x="-554805" y="4678382"/>
            <a:ext cx="1494890" cy="38528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AI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E18AEA8E-5562-854C-97E2-3BDB5342F117}"/>
              </a:ext>
            </a:extLst>
          </p:cNvPr>
          <p:cNvSpPr/>
          <p:nvPr/>
        </p:nvSpPr>
        <p:spPr>
          <a:xfrm rot="16200000">
            <a:off x="-554805" y="6206505"/>
            <a:ext cx="1494890" cy="38528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RS/CA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0A62E6E-3DDF-6A41-8783-D08DDAC585E9}"/>
              </a:ext>
            </a:extLst>
          </p:cNvPr>
          <p:cNvSpPr/>
          <p:nvPr/>
        </p:nvSpPr>
        <p:spPr>
          <a:xfrm>
            <a:off x="385280" y="1051447"/>
            <a:ext cx="7433354" cy="524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797752E-86FD-3947-BDE8-41EE187480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2" y="47618"/>
            <a:ext cx="7506564" cy="926862"/>
          </a:xfrm>
          <a:prstGeom prst="rect">
            <a:avLst/>
          </a:prstGeom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8581BF9D-20DF-3245-B49C-61ADC3B4E623}"/>
              </a:ext>
            </a:extLst>
          </p:cNvPr>
          <p:cNvSpPr/>
          <p:nvPr/>
        </p:nvSpPr>
        <p:spPr>
          <a:xfrm rot="16200000">
            <a:off x="-541962" y="1623222"/>
            <a:ext cx="1494890" cy="38528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</a:t>
            </a:r>
          </a:p>
        </p:txBody>
      </p:sp>
      <p:sp>
        <p:nvSpPr>
          <p:cNvPr id="20" name="Down Arrow 19">
            <a:extLst>
              <a:ext uri="{FF2B5EF4-FFF2-40B4-BE49-F238E27FC236}">
                <a16:creationId xmlns:a16="http://schemas.microsoft.com/office/drawing/2014/main" id="{A5C96845-DEE3-2F45-B22C-C6D4B080FC36}"/>
              </a:ext>
            </a:extLst>
          </p:cNvPr>
          <p:cNvSpPr/>
          <p:nvPr/>
        </p:nvSpPr>
        <p:spPr>
          <a:xfrm>
            <a:off x="1417832" y="2154295"/>
            <a:ext cx="164388" cy="648074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659984C-0446-4A41-9315-F5D025DBE5F1}"/>
              </a:ext>
            </a:extLst>
          </p:cNvPr>
          <p:cNvSpPr/>
          <p:nvPr/>
        </p:nvSpPr>
        <p:spPr>
          <a:xfrm>
            <a:off x="750651" y="1680151"/>
            <a:ext cx="1613043" cy="49504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 Data</a:t>
            </a:r>
            <a:br>
              <a:rPr lang="en-US" dirty="0"/>
            </a:br>
            <a:r>
              <a:rPr lang="en-US" sz="1100" dirty="0"/>
              <a:t>TBA format</a:t>
            </a:r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F9A0D15-20C8-7246-B335-09F1D338DF8C}"/>
              </a:ext>
            </a:extLst>
          </p:cNvPr>
          <p:cNvSpPr/>
          <p:nvPr/>
        </p:nvSpPr>
        <p:spPr>
          <a:xfrm>
            <a:off x="959340" y="4292504"/>
            <a:ext cx="1474341" cy="112159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AI </a:t>
            </a:r>
            <a:r>
              <a:rPr lang="en-US" sz="1600" dirty="0"/>
              <a:t>Callable Rule Service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89C225E-1852-8A43-8132-1EA14A859D10}"/>
              </a:ext>
            </a:extLst>
          </p:cNvPr>
          <p:cNvSpPr txBox="1"/>
          <p:nvPr/>
        </p:nvSpPr>
        <p:spPr>
          <a:xfrm rot="16200000">
            <a:off x="312276" y="3766791"/>
            <a:ext cx="1155381" cy="6049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900" dirty="0"/>
              <a:t>Claim Data</a:t>
            </a:r>
          </a:p>
        </p:txBody>
      </p:sp>
      <p:sp>
        <p:nvSpPr>
          <p:cNvPr id="28" name="Curved Right Arrow 27">
            <a:extLst>
              <a:ext uri="{FF2B5EF4-FFF2-40B4-BE49-F238E27FC236}">
                <a16:creationId xmlns:a16="http://schemas.microsoft.com/office/drawing/2014/main" id="{EB707469-7134-614F-9B4A-9C9FE398FA2C}"/>
              </a:ext>
            </a:extLst>
          </p:cNvPr>
          <p:cNvSpPr/>
          <p:nvPr/>
        </p:nvSpPr>
        <p:spPr>
          <a:xfrm>
            <a:off x="487054" y="3491575"/>
            <a:ext cx="471975" cy="1524579"/>
          </a:xfrm>
          <a:prstGeom prst="curv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Curved Right Arrow 28">
            <a:extLst>
              <a:ext uri="{FF2B5EF4-FFF2-40B4-BE49-F238E27FC236}">
                <a16:creationId xmlns:a16="http://schemas.microsoft.com/office/drawing/2014/main" id="{883FB029-C66A-EA42-AB3C-1E737408005C}"/>
              </a:ext>
            </a:extLst>
          </p:cNvPr>
          <p:cNvSpPr/>
          <p:nvPr/>
        </p:nvSpPr>
        <p:spPr>
          <a:xfrm rot="10800000">
            <a:off x="2430442" y="3434994"/>
            <a:ext cx="471975" cy="1525947"/>
          </a:xfrm>
          <a:prstGeom prst="curv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Decision 29">
            <a:extLst>
              <a:ext uri="{FF2B5EF4-FFF2-40B4-BE49-F238E27FC236}">
                <a16:creationId xmlns:a16="http://schemas.microsoft.com/office/drawing/2014/main" id="{58C0311E-3CC8-334D-8A77-3C611DAF5698}"/>
              </a:ext>
            </a:extLst>
          </p:cNvPr>
          <p:cNvSpPr/>
          <p:nvPr/>
        </p:nvSpPr>
        <p:spPr>
          <a:xfrm>
            <a:off x="2363693" y="4109722"/>
            <a:ext cx="204846" cy="218062"/>
          </a:xfrm>
          <a:prstGeom prst="flowChartDecisi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72FB22-1A66-7441-8667-F7DA397525E7}"/>
              </a:ext>
            </a:extLst>
          </p:cNvPr>
          <p:cNvSpPr txBox="1"/>
          <p:nvPr/>
        </p:nvSpPr>
        <p:spPr>
          <a:xfrm rot="16200000">
            <a:off x="2239350" y="3750949"/>
            <a:ext cx="1155381" cy="6049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900" dirty="0"/>
              <a:t>Pay/Pend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6FC3D92B-9317-3448-A16E-73905B93B027}"/>
              </a:ext>
            </a:extLst>
          </p:cNvPr>
          <p:cNvSpPr/>
          <p:nvPr/>
        </p:nvSpPr>
        <p:spPr>
          <a:xfrm>
            <a:off x="606811" y="2799679"/>
            <a:ext cx="1879535" cy="81089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allable Rule Service manager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711E5E8C-E11D-7941-BB3A-A7B3E3628292}"/>
              </a:ext>
            </a:extLst>
          </p:cNvPr>
          <p:cNvSpPr/>
          <p:nvPr/>
        </p:nvSpPr>
        <p:spPr>
          <a:xfrm>
            <a:off x="3534312" y="2768857"/>
            <a:ext cx="1879535" cy="81089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PE/PPE Edit Selector</a:t>
            </a:r>
          </a:p>
        </p:txBody>
      </p:sp>
      <p:sp>
        <p:nvSpPr>
          <p:cNvPr id="34" name="Multidocument 33">
            <a:extLst>
              <a:ext uri="{FF2B5EF4-FFF2-40B4-BE49-F238E27FC236}">
                <a16:creationId xmlns:a16="http://schemas.microsoft.com/office/drawing/2014/main" id="{E57387F8-AFA1-1543-98EF-B96D99324191}"/>
              </a:ext>
            </a:extLst>
          </p:cNvPr>
          <p:cNvSpPr/>
          <p:nvPr/>
        </p:nvSpPr>
        <p:spPr>
          <a:xfrm>
            <a:off x="2682176" y="2856832"/>
            <a:ext cx="644737" cy="322961"/>
          </a:xfrm>
          <a:prstGeom prst="flowChartMultidocumen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HITS</a:t>
            </a:r>
          </a:p>
        </p:txBody>
      </p:sp>
      <p:sp>
        <p:nvSpPr>
          <p:cNvPr id="35" name="Down Arrow 34">
            <a:extLst>
              <a:ext uri="{FF2B5EF4-FFF2-40B4-BE49-F238E27FC236}">
                <a16:creationId xmlns:a16="http://schemas.microsoft.com/office/drawing/2014/main" id="{D73AC447-B634-A24D-8ABD-873AAD99ECC3}"/>
              </a:ext>
            </a:extLst>
          </p:cNvPr>
          <p:cNvSpPr/>
          <p:nvPr/>
        </p:nvSpPr>
        <p:spPr>
          <a:xfrm rot="16200000">
            <a:off x="2929888" y="2713650"/>
            <a:ext cx="149315" cy="1036396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Decision 35">
            <a:extLst>
              <a:ext uri="{FF2B5EF4-FFF2-40B4-BE49-F238E27FC236}">
                <a16:creationId xmlns:a16="http://schemas.microsoft.com/office/drawing/2014/main" id="{0D99E8E4-6F52-2A42-BAC8-36A033F846F4}"/>
              </a:ext>
            </a:extLst>
          </p:cNvPr>
          <p:cNvSpPr/>
          <p:nvPr/>
        </p:nvSpPr>
        <p:spPr>
          <a:xfrm>
            <a:off x="3741626" y="3579747"/>
            <a:ext cx="207397" cy="204466"/>
          </a:xfrm>
          <a:prstGeom prst="flowChartDecisi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F07BE27-FA47-8F40-BAD1-38A92C2771C3}"/>
              </a:ext>
            </a:extLst>
          </p:cNvPr>
          <p:cNvSpPr txBox="1"/>
          <p:nvPr/>
        </p:nvSpPr>
        <p:spPr>
          <a:xfrm>
            <a:off x="3949023" y="3573009"/>
            <a:ext cx="1371283" cy="6049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900" dirty="0"/>
              <a:t>Pick Top Hit, provide all claim data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E224DC9A-B267-0F4F-8BBF-D5927BCC5D4B}"/>
              </a:ext>
            </a:extLst>
          </p:cNvPr>
          <p:cNvSpPr/>
          <p:nvPr/>
        </p:nvSpPr>
        <p:spPr>
          <a:xfrm>
            <a:off x="3358661" y="6109341"/>
            <a:ext cx="1465072" cy="56768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Request CHART &amp; Review</a:t>
            </a:r>
          </a:p>
        </p:txBody>
      </p:sp>
      <p:cxnSp>
        <p:nvCxnSpPr>
          <p:cNvPr id="44" name="Curved Connector 43">
            <a:extLst>
              <a:ext uri="{FF2B5EF4-FFF2-40B4-BE49-F238E27FC236}">
                <a16:creationId xmlns:a16="http://schemas.microsoft.com/office/drawing/2014/main" id="{C69DD12C-1D96-FB4B-B61D-B3BC2872513C}"/>
              </a:ext>
            </a:extLst>
          </p:cNvPr>
          <p:cNvCxnSpPr>
            <a:cxnSpLocks/>
          </p:cNvCxnSpPr>
          <p:nvPr/>
        </p:nvCxnSpPr>
        <p:spPr>
          <a:xfrm rot="5400000">
            <a:off x="1390592" y="3990406"/>
            <a:ext cx="2626563" cy="1847365"/>
          </a:xfrm>
          <a:prstGeom prst="curvedConnector3">
            <a:avLst>
              <a:gd name="adj1" fmla="val 60550"/>
            </a:avLst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Decision 45">
            <a:extLst>
              <a:ext uri="{FF2B5EF4-FFF2-40B4-BE49-F238E27FC236}">
                <a16:creationId xmlns:a16="http://schemas.microsoft.com/office/drawing/2014/main" id="{7C9F4FA1-EA7B-A540-8E12-081AEC026057}"/>
              </a:ext>
            </a:extLst>
          </p:cNvPr>
          <p:cNvSpPr/>
          <p:nvPr/>
        </p:nvSpPr>
        <p:spPr>
          <a:xfrm rot="20620759">
            <a:off x="2267155" y="5933022"/>
            <a:ext cx="207397" cy="204466"/>
          </a:xfrm>
          <a:prstGeom prst="flowChartDecisi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9533639C-0114-284E-AC32-2E43B161674B}"/>
              </a:ext>
            </a:extLst>
          </p:cNvPr>
          <p:cNvSpPr/>
          <p:nvPr/>
        </p:nvSpPr>
        <p:spPr>
          <a:xfrm>
            <a:off x="3739793" y="4292504"/>
            <a:ext cx="2000894" cy="115538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AI </a:t>
            </a:r>
            <a:r>
              <a:rPr lang="en-US" sz="1600" dirty="0"/>
              <a:t>Deep Evaluation ML/Scoring</a:t>
            </a:r>
            <a:endParaRPr 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AFC7EA5-3BE8-AE4C-8DBD-AD250C0BBA02}"/>
              </a:ext>
            </a:extLst>
          </p:cNvPr>
          <p:cNvSpPr txBox="1"/>
          <p:nvPr/>
        </p:nvSpPr>
        <p:spPr>
          <a:xfrm rot="18079471">
            <a:off x="2558174" y="5324734"/>
            <a:ext cx="1446286" cy="495505"/>
          </a:xfrm>
          <a:prstGeom prst="rect">
            <a:avLst/>
          </a:prstGeom>
          <a:noFill/>
          <a:scene3d>
            <a:camera prst="orthographicFront">
              <a:rot lat="0" lon="21299999" rev="0"/>
            </a:camera>
            <a:lightRig rig="threePt" dir="t"/>
          </a:scene3d>
        </p:spPr>
        <p:txBody>
          <a:bodyPr wrap="square" rtlCol="0">
            <a:noAutofit/>
          </a:bodyPr>
          <a:lstStyle/>
          <a:p>
            <a:pPr algn="l"/>
            <a:r>
              <a:rPr lang="en-US" sz="900" dirty="0"/>
              <a:t>OAI Marked as Pend</a:t>
            </a:r>
          </a:p>
        </p:txBody>
      </p:sp>
      <p:cxnSp>
        <p:nvCxnSpPr>
          <p:cNvPr id="55" name="Curved Connector 54">
            <a:extLst>
              <a:ext uri="{FF2B5EF4-FFF2-40B4-BE49-F238E27FC236}">
                <a16:creationId xmlns:a16="http://schemas.microsoft.com/office/drawing/2014/main" id="{8B7CADF1-0A06-2144-A46C-5BD8EA3940ED}"/>
              </a:ext>
            </a:extLst>
          </p:cNvPr>
          <p:cNvCxnSpPr>
            <a:cxnSpLocks/>
            <a:endCxn id="47" idx="2"/>
          </p:cNvCxnSpPr>
          <p:nvPr/>
        </p:nvCxnSpPr>
        <p:spPr>
          <a:xfrm flipV="1">
            <a:off x="1915905" y="4870195"/>
            <a:ext cx="1823888" cy="1357176"/>
          </a:xfrm>
          <a:prstGeom prst="curvedConnector3">
            <a:avLst>
              <a:gd name="adj1" fmla="val 56077"/>
            </a:avLst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99D4596F-85D9-004F-8434-C51596FF11E5}"/>
              </a:ext>
            </a:extLst>
          </p:cNvPr>
          <p:cNvSpPr/>
          <p:nvPr/>
        </p:nvSpPr>
        <p:spPr>
          <a:xfrm>
            <a:off x="1082567" y="6188252"/>
            <a:ext cx="1371283" cy="516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Load into SQL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3CFEC495-E937-0147-81C3-3FCC8DB2E616}"/>
              </a:ext>
            </a:extLst>
          </p:cNvPr>
          <p:cNvSpPr/>
          <p:nvPr/>
        </p:nvSpPr>
        <p:spPr>
          <a:xfrm rot="16200000">
            <a:off x="-554805" y="7769136"/>
            <a:ext cx="1494890" cy="38528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rop</a:t>
            </a:r>
          </a:p>
        </p:txBody>
      </p:sp>
      <p:sp>
        <p:nvSpPr>
          <p:cNvPr id="65" name="Down Arrow 64">
            <a:extLst>
              <a:ext uri="{FF2B5EF4-FFF2-40B4-BE49-F238E27FC236}">
                <a16:creationId xmlns:a16="http://schemas.microsoft.com/office/drawing/2014/main" id="{6E5A3C4D-9F62-BA4A-9E58-68D674DF7554}"/>
              </a:ext>
            </a:extLst>
          </p:cNvPr>
          <p:cNvSpPr/>
          <p:nvPr/>
        </p:nvSpPr>
        <p:spPr>
          <a:xfrm rot="16200000">
            <a:off x="2816193" y="5961620"/>
            <a:ext cx="165466" cy="919474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Decision 65">
            <a:extLst>
              <a:ext uri="{FF2B5EF4-FFF2-40B4-BE49-F238E27FC236}">
                <a16:creationId xmlns:a16="http://schemas.microsoft.com/office/drawing/2014/main" id="{61FB21CE-414E-C748-AA5E-E8C81E847C4E}"/>
              </a:ext>
            </a:extLst>
          </p:cNvPr>
          <p:cNvSpPr/>
          <p:nvPr/>
        </p:nvSpPr>
        <p:spPr>
          <a:xfrm rot="20620759">
            <a:off x="5701724" y="4939110"/>
            <a:ext cx="207397" cy="204466"/>
          </a:xfrm>
          <a:prstGeom prst="flowChartDecisi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26F52693-BA8F-0540-9EB3-19B640713AAC}"/>
              </a:ext>
            </a:extLst>
          </p:cNvPr>
          <p:cNvSpPr/>
          <p:nvPr/>
        </p:nvSpPr>
        <p:spPr>
          <a:xfrm>
            <a:off x="5807561" y="7689478"/>
            <a:ext cx="1371283" cy="516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Rabbit MQ</a:t>
            </a:r>
          </a:p>
        </p:txBody>
      </p:sp>
      <p:cxnSp>
        <p:nvCxnSpPr>
          <p:cNvPr id="68" name="Curved Connector 67">
            <a:extLst>
              <a:ext uri="{FF2B5EF4-FFF2-40B4-BE49-F238E27FC236}">
                <a16:creationId xmlns:a16="http://schemas.microsoft.com/office/drawing/2014/main" id="{B7C546C4-7777-8E4F-99FA-E14F459EF33D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5740687" y="4870195"/>
            <a:ext cx="729386" cy="2833138"/>
          </a:xfrm>
          <a:prstGeom prst="curvedConnector2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2B5CE651-06AA-E74A-86E4-7642F8D4E781}"/>
              </a:ext>
            </a:extLst>
          </p:cNvPr>
          <p:cNvSpPr txBox="1"/>
          <p:nvPr/>
        </p:nvSpPr>
        <p:spPr>
          <a:xfrm rot="16200000">
            <a:off x="5425574" y="6791628"/>
            <a:ext cx="1446286" cy="317769"/>
          </a:xfrm>
          <a:prstGeom prst="rect">
            <a:avLst/>
          </a:prstGeom>
          <a:noFill/>
          <a:scene3d>
            <a:camera prst="orthographicFront">
              <a:rot lat="0" lon="21299999" rev="0"/>
            </a:camera>
            <a:lightRig rig="threePt" dir="t"/>
          </a:scene3d>
        </p:spPr>
        <p:txBody>
          <a:bodyPr wrap="square" rtlCol="0">
            <a:noAutofit/>
          </a:bodyPr>
          <a:lstStyle/>
          <a:p>
            <a:pPr algn="l"/>
            <a:r>
              <a:rPr lang="en-US" sz="900" dirty="0"/>
              <a:t>OAI reversed Decision, Mark as PAY</a:t>
            </a: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6D52BFBE-B2E2-7141-85C1-8209BB440DAB}"/>
              </a:ext>
            </a:extLst>
          </p:cNvPr>
          <p:cNvSpPr/>
          <p:nvPr/>
        </p:nvSpPr>
        <p:spPr>
          <a:xfrm>
            <a:off x="6233774" y="1659246"/>
            <a:ext cx="1613043" cy="64807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 Portal</a:t>
            </a:r>
          </a:p>
        </p:txBody>
      </p:sp>
      <p:cxnSp>
        <p:nvCxnSpPr>
          <p:cNvPr id="74" name="Curved Connector 73">
            <a:extLst>
              <a:ext uri="{FF2B5EF4-FFF2-40B4-BE49-F238E27FC236}">
                <a16:creationId xmlns:a16="http://schemas.microsoft.com/office/drawing/2014/main" id="{E56159CE-1F3B-154A-A94E-4992F3D96409}"/>
              </a:ext>
            </a:extLst>
          </p:cNvPr>
          <p:cNvCxnSpPr>
            <a:cxnSpLocks/>
            <a:endCxn id="72" idx="2"/>
          </p:cNvCxnSpPr>
          <p:nvPr/>
        </p:nvCxnSpPr>
        <p:spPr>
          <a:xfrm rot="16200000" flipV="1">
            <a:off x="4342291" y="5005326"/>
            <a:ext cx="5396013" cy="1"/>
          </a:xfrm>
          <a:prstGeom prst="curvedConnector3">
            <a:avLst>
              <a:gd name="adj1" fmla="val 50000"/>
            </a:avLst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BFC7DA6-A1D3-DB47-8C28-AFCAFE31F3F5}"/>
              </a:ext>
            </a:extLst>
          </p:cNvPr>
          <p:cNvCxnSpPr/>
          <p:nvPr/>
        </p:nvCxnSpPr>
        <p:spPr>
          <a:xfrm>
            <a:off x="12842" y="2577162"/>
            <a:ext cx="9131158" cy="0"/>
          </a:xfrm>
          <a:prstGeom prst="line">
            <a:avLst/>
          </a:prstGeom>
          <a:ln w="22225">
            <a:solidFill>
              <a:schemeClr val="accent1">
                <a:alpha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1171624-F61E-434A-9E35-025217497992}"/>
              </a:ext>
            </a:extLst>
          </p:cNvPr>
          <p:cNvCxnSpPr/>
          <p:nvPr/>
        </p:nvCxnSpPr>
        <p:spPr>
          <a:xfrm>
            <a:off x="12842" y="4094311"/>
            <a:ext cx="9131158" cy="0"/>
          </a:xfrm>
          <a:prstGeom prst="line">
            <a:avLst/>
          </a:prstGeom>
          <a:ln w="22225">
            <a:solidFill>
              <a:schemeClr val="accent1">
                <a:alpha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7A733508-66E7-6D42-99CA-B68D14528F3F}"/>
              </a:ext>
            </a:extLst>
          </p:cNvPr>
          <p:cNvCxnSpPr/>
          <p:nvPr/>
        </p:nvCxnSpPr>
        <p:spPr>
          <a:xfrm>
            <a:off x="-4203" y="5645066"/>
            <a:ext cx="9131158" cy="0"/>
          </a:xfrm>
          <a:prstGeom prst="line">
            <a:avLst/>
          </a:prstGeom>
          <a:ln w="22225">
            <a:solidFill>
              <a:schemeClr val="accent1">
                <a:alpha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AEACCDF-C7F0-8446-B602-AC3A17998CD9}"/>
              </a:ext>
            </a:extLst>
          </p:cNvPr>
          <p:cNvCxnSpPr/>
          <p:nvPr/>
        </p:nvCxnSpPr>
        <p:spPr>
          <a:xfrm>
            <a:off x="69085" y="7160445"/>
            <a:ext cx="9131158" cy="0"/>
          </a:xfrm>
          <a:prstGeom prst="line">
            <a:avLst/>
          </a:prstGeom>
          <a:ln w="22225">
            <a:solidFill>
              <a:schemeClr val="accent1">
                <a:alpha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07404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9D82E9C-A672-2943-AF1F-BE249CA31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80AD13-9AEA-BE4E-9B2D-2847643702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4879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E539F4-96B8-4B49-889B-1133C4E24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F6D126-C12A-BA49-ACE7-ED23D6E978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6846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1F72404-1FEA-E445-9D4F-7955E0BBA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6551F5-4BDE-3A4F-8462-8059842503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3590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3991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1ACA93-2E5A-B242-8FF9-4E3F44AD2C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3384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5C6B165-5BB8-D543-8C26-DFE22162C48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48619B4-04B0-7A4C-8159-D5794A1991E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8011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EF1B9DE-DD0F-2949-8282-286F7760E2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8ACA3AB-1057-8142-99B2-4614E7E64B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0391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5411DC2-1BDC-E04F-84B4-F1D447C2BC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9F63EFD-8F25-C94D-8C59-D7B3A868CD0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1767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3EDCD67-41D6-4543-84FA-6D44FFF191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555059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FF8851-FE1A-4641-8D5D-7D466CBC64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6FE285-EF0D-A142-95E9-0EAF97382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8722D2DD-E452-B748-83F2-82685792F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37419" y="7660079"/>
            <a:ext cx="363682" cy="274320"/>
          </a:xfrm>
        </p:spPr>
        <p:txBody>
          <a:bodyPr/>
          <a:lstStyle/>
          <a:p>
            <a:fld id="{8BC64C03-9EC0-4B7E-8FE4-24DBF62E63E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667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3C538F-960C-44E4-8698-3073A980D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384128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BA46BF2-3EE4-B044-A05B-BCFB62E1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221DD9-78DF-8F4A-BF84-129420FFB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7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BC02A-DA66-1F4F-8970-EACDC4B7F4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A2579F-34B5-F44D-8387-1F6338E7C8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4395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F7E44B-2FA8-4A9E-8FE7-ABD6F56CD2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719553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8461C02-6633-1240-BF62-EE531F913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493CA2-D1B7-1A42-A260-E6C93B129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8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9FF2421-A998-F249-BD37-D852ACC82F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1E2AB06-257F-EB4A-B01D-81BD84446E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17ED3A-45C5-B64B-AE45-77AA34F17B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2223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41922B-4137-4961-B1B0-A636F0A88E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790568"/>
              </p:ext>
            </p:extLst>
          </p:nvPr>
        </p:nvGraphicFramePr>
        <p:xfrm>
          <a:off x="1588" y="1144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44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F518C02F-159D-5F47-BC20-DB949840C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2030CA-F383-8C4B-97ED-1AB3E0B2D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9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D4019-5AC1-5840-9498-4764FB6344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AA875F7-2FE3-924B-909A-7BE13FD9CC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63557A-83E6-AC44-AC78-8BF16F0C5A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7D126A4-A307-B244-916E-6E0B9065B3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798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Gsj6y27sWSaDk7U8nW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Gsj6y27sWSaDk7U8nW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HhJiVf9OjdwF_yz7ut7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bHHTBls_72kgzPt.yr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Gsj6y27sWSaDk7U8nW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HhJiVf9OjdwF_yz7ut7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HhJiVf9OjdwF_yz7ut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HhJiVf9OjdwF_yz7ut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W1FXoJ52Sd6T6PeGn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ed_S1tUVmtr1yUssMi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ipEJMDSVG.iirVDZW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fLH_0AeAoMTHlI0x_w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fGKyaH2d_yk1egsjK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UZDDy.lzl_tBWaOaX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QJeKJrVv4N03xVpWb4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aLT9BQ.orfSLRr9sWo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C9VgoOc.xPaZDEHI2u6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nRuD39idjJpyfMkO_A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Rsvcw1czzTrqM3DGDW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fAlCJWenvPGvcZtxs8w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Q2j0Ml6lNzgMNfjU63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eDu.OfZa1MlysiJegCD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zUZjDcTvp5sdcfcLt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Gsj6y27sWSaDk7U8nW9A"/>
</p:tagLst>
</file>

<file path=ppt/theme/theme1.xml><?xml version="1.0" encoding="utf-8"?>
<a:theme xmlns:a="http://schemas.openxmlformats.org/drawingml/2006/main" name="Cotiviti_PPT_Template_4x3_Final">
  <a:themeElements>
    <a:clrScheme name="New G62 Scheme">
      <a:dk1>
        <a:srgbClr val="000000"/>
      </a:dk1>
      <a:lt1>
        <a:srgbClr val="FFFFFF"/>
      </a:lt1>
      <a:dk2>
        <a:srgbClr val="FF8C00"/>
      </a:dk2>
      <a:lt2>
        <a:srgbClr val="A3D55F"/>
      </a:lt2>
      <a:accent1>
        <a:srgbClr val="30006F"/>
      </a:accent1>
      <a:accent2>
        <a:srgbClr val="9579D3"/>
      </a:accent2>
      <a:accent3>
        <a:srgbClr val="EC008C"/>
      </a:accent3>
      <a:accent4>
        <a:srgbClr val="7C77AD"/>
      </a:accent4>
      <a:accent5>
        <a:srgbClr val="00AEEF"/>
      </a:accent5>
      <a:accent6>
        <a:srgbClr val="00BCB5"/>
      </a:accent6>
      <a:hlink>
        <a:srgbClr val="9579D3"/>
      </a:hlink>
      <a:folHlink>
        <a:srgbClr val="D2D3DC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tandard Corporate Upgrade" id="{70667918-64BF-4E11-9DDC-C3C26BCFACF8}" vid="{AE1C4558-EAB6-4227-AD7F-558EBE8E89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tiviti_PPT_Template_4x3_Final</Template>
  <TotalTime>365</TotalTime>
  <Words>367</Words>
  <Application>Microsoft Macintosh PowerPoint</Application>
  <PresentationFormat>Custom</PresentationFormat>
  <Paragraphs>107</Paragraphs>
  <Slides>2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Wingdings</vt:lpstr>
      <vt:lpstr>Courier New</vt:lpstr>
      <vt:lpstr>Montserrat SemiBold</vt:lpstr>
      <vt:lpstr>Montserrat</vt:lpstr>
      <vt:lpstr>Calibri</vt:lpstr>
      <vt:lpstr>Cotiviti_PPT_Template_4x3_Final</vt:lpstr>
      <vt:lpstr>think-cell Slide</vt:lpstr>
      <vt:lpstr>CCV_Prepay + OAI</vt:lpstr>
      <vt:lpstr>Process Dia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ttendee slide should look like this</vt:lpstr>
      <vt:lpstr>Bar charts should look like this</vt:lpstr>
      <vt:lpstr>Pie charts should look like this</vt:lpstr>
      <vt:lpstr>Doughnut charts should look like this</vt:lpstr>
      <vt:lpstr>Line charts should look like this</vt:lpstr>
      <vt:lpstr>Tables should look like this</vt:lpstr>
      <vt:lpstr>Timeline should look like th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ohnson, Mica</dc:creator>
  <cp:keywords/>
  <dc:description/>
  <cp:lastModifiedBy>Grant, Matthew</cp:lastModifiedBy>
  <cp:revision>24</cp:revision>
  <cp:lastPrinted>2018-09-13T18:14:44Z</cp:lastPrinted>
  <dcterms:created xsi:type="dcterms:W3CDTF">2020-12-18T17:42:24Z</dcterms:created>
  <dcterms:modified xsi:type="dcterms:W3CDTF">2021-05-21T22:00:05Z</dcterms:modified>
  <cp:category/>
</cp:coreProperties>
</file>